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07.xml" ContentType="application/vnd.openxmlformats-officedocument.presentationml.tags+xml"/>
  <Override PartName="/ppt/notesSlides/notesSlide1.xml" ContentType="application/vnd.openxmlformats-officedocument.presentationml.notesSlide+xml"/>
  <Override PartName="/ppt/tags/tag108.xml" ContentType="application/vnd.openxmlformats-officedocument.presentationml.tags+xml"/>
  <Override PartName="/ppt/notesSlides/notesSlide2.xml" ContentType="application/vnd.openxmlformats-officedocument.presentationml.notesSlide+xml"/>
  <Override PartName="/ppt/tags/tag109.xml" ContentType="application/vnd.openxmlformats-officedocument.presentationml.tags+xml"/>
  <Override PartName="/ppt/notesSlides/notesSlide3.xml" ContentType="application/vnd.openxmlformats-officedocument.presentationml.notesSlide+xml"/>
  <Override PartName="/ppt/tags/tag110.xml" ContentType="application/vnd.openxmlformats-officedocument.presentationml.tags+xml"/>
  <Override PartName="/ppt/notesSlides/notesSlide4.xml" ContentType="application/vnd.openxmlformats-officedocument.presentationml.notesSlide+xml"/>
  <Override PartName="/ppt/tags/tag111.xml" ContentType="application/vnd.openxmlformats-officedocument.presentationml.tags+xml"/>
  <Override PartName="/ppt/notesSlides/notesSlide5.xml" ContentType="application/vnd.openxmlformats-officedocument.presentationml.notesSlide+xml"/>
  <Override PartName="/ppt/tags/tag112.xml" ContentType="application/vnd.openxmlformats-officedocument.presentationml.tags+xml"/>
  <Override PartName="/ppt/notesSlides/notesSlide6.xml" ContentType="application/vnd.openxmlformats-officedocument.presentationml.notesSlide+xml"/>
  <Override PartName="/ppt/tags/tag113.xml" ContentType="application/vnd.openxmlformats-officedocument.presentationml.tags+xml"/>
  <Override PartName="/ppt/notesSlides/notesSlide7.xml" ContentType="application/vnd.openxmlformats-officedocument.presentationml.notesSlide+xml"/>
  <Override PartName="/ppt/tags/tag114.xml" ContentType="application/vnd.openxmlformats-officedocument.presentationml.tags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5"/>
  </p:sldMasterIdLst>
  <p:notesMasterIdLst>
    <p:notesMasterId r:id="rId24"/>
  </p:notesMasterIdLst>
  <p:handoutMasterIdLst>
    <p:handoutMasterId r:id="rId25"/>
  </p:handoutMasterIdLst>
  <p:sldIdLst>
    <p:sldId id="389" r:id="rId6"/>
    <p:sldId id="269" r:id="rId7"/>
    <p:sldId id="557" r:id="rId8"/>
    <p:sldId id="575" r:id="rId9"/>
    <p:sldId id="558" r:id="rId10"/>
    <p:sldId id="574" r:id="rId11"/>
    <p:sldId id="559" r:id="rId12"/>
    <p:sldId id="560" r:id="rId13"/>
    <p:sldId id="561" r:id="rId14"/>
    <p:sldId id="562" r:id="rId15"/>
    <p:sldId id="567" r:id="rId16"/>
    <p:sldId id="568" r:id="rId17"/>
    <p:sldId id="569" r:id="rId18"/>
    <p:sldId id="564" r:id="rId19"/>
    <p:sldId id="565" r:id="rId20"/>
    <p:sldId id="566" r:id="rId21"/>
    <p:sldId id="570" r:id="rId22"/>
    <p:sldId id="288" r:id="rId23"/>
  </p:sldIdLst>
  <p:sldSz cx="9144000" cy="5145088"/>
  <p:notesSz cx="6858000" cy="9144000"/>
  <p:custDataLst>
    <p:tags r:id="rId2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E51CB64-41DE-4E99-AA61-015D66A9A29C}" v="461" dt="2025-09-02T13:55:44.667"/>
  </p1510:revLst>
</p1510:revInfo>
</file>

<file path=ppt/tableStyles.xml><?xml version="1.0" encoding="utf-8"?>
<a:tblStyleLst xmlns:a="http://schemas.openxmlformats.org/drawingml/2006/main" def="{0E3FDE45-AF77-4B5C-9715-49D594BDF05E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Helle Formatvorlage 1 - Akz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2929" autoAdjust="0"/>
  </p:normalViewPr>
  <p:slideViewPr>
    <p:cSldViewPr snapToGrid="0" showGuides="1">
      <p:cViewPr varScale="1">
        <p:scale>
          <a:sx n="91" d="100"/>
          <a:sy n="91" d="100"/>
        </p:scale>
        <p:origin x="584" y="5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48" d="100"/>
          <a:sy n="48" d="100"/>
        </p:scale>
        <p:origin x="2684" y="4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notesMaster" Target="notesMasters/notesMaster1.xml"/><Relationship Id="rId32" Type="http://schemas.microsoft.com/office/2015/10/relationships/revisionInfo" Target="revisionInfo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microsoft.com/office/2016/11/relationships/changesInfo" Target="changesInfos/changesInfo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ivedha N A" userId="48795343-f4b0-4368-b9f1-c6e5f3910d48" providerId="ADAL" clId="{3E51CB64-41DE-4E99-AA61-015D66A9A29C}"/>
    <pc:docChg chg="undo custSel addSld delSld modSld sldOrd">
      <pc:chgData name="Nivedha N A" userId="48795343-f4b0-4368-b9f1-c6e5f3910d48" providerId="ADAL" clId="{3E51CB64-41DE-4E99-AA61-015D66A9A29C}" dt="2025-09-02T13:55:44.667" v="3529"/>
      <pc:docMkLst>
        <pc:docMk/>
      </pc:docMkLst>
      <pc:sldChg chg="modSp del">
        <pc:chgData name="Nivedha N A" userId="48795343-f4b0-4368-b9f1-c6e5f3910d48" providerId="ADAL" clId="{3E51CB64-41DE-4E99-AA61-015D66A9A29C}" dt="2025-09-01T09:44:53.877" v="22" actId="2696"/>
        <pc:sldMkLst>
          <pc:docMk/>
          <pc:sldMk cId="2860242000" sldId="257"/>
        </pc:sldMkLst>
        <pc:spChg chg="mod">
          <ac:chgData name="Nivedha N A" userId="48795343-f4b0-4368-b9f1-c6e5f3910d48" providerId="ADAL" clId="{3E51CB64-41DE-4E99-AA61-015D66A9A29C}" dt="2025-09-01T09:43:21.275" v="18"/>
          <ac:spMkLst>
            <pc:docMk/>
            <pc:sldMk cId="2860242000" sldId="257"/>
            <ac:spMk id="6" creationId="{1C49ABBA-4293-49E2-BEBE-9EDCF2975C1E}"/>
          </ac:spMkLst>
        </pc:spChg>
      </pc:sldChg>
      <pc:sldChg chg="del">
        <pc:chgData name="Nivedha N A" userId="48795343-f4b0-4368-b9f1-c6e5f3910d48" providerId="ADAL" clId="{3E51CB64-41DE-4E99-AA61-015D66A9A29C}" dt="2025-09-01T09:44:34.675" v="21" actId="2696"/>
        <pc:sldMkLst>
          <pc:docMk/>
          <pc:sldMk cId="4124568962" sldId="259"/>
        </pc:sldMkLst>
      </pc:sldChg>
      <pc:sldChg chg="modSp del">
        <pc:chgData name="Nivedha N A" userId="48795343-f4b0-4368-b9f1-c6e5f3910d48" providerId="ADAL" clId="{3E51CB64-41DE-4E99-AA61-015D66A9A29C}" dt="2025-09-01T10:06:06.400" v="98" actId="2696"/>
        <pc:sldMkLst>
          <pc:docMk/>
          <pc:sldMk cId="1371627831" sldId="262"/>
        </pc:sldMkLst>
        <pc:spChg chg="mod">
          <ac:chgData name="Nivedha N A" userId="48795343-f4b0-4368-b9f1-c6e5f3910d48" providerId="ADAL" clId="{3E51CB64-41DE-4E99-AA61-015D66A9A29C}" dt="2025-09-01T09:49:13.830" v="26"/>
          <ac:spMkLst>
            <pc:docMk/>
            <pc:sldMk cId="1371627831" sldId="262"/>
            <ac:spMk id="3" creationId="{82C1948E-BDAC-4654-BDCC-A3D25A7EB44B}"/>
          </ac:spMkLst>
        </pc:spChg>
      </pc:sldChg>
      <pc:sldChg chg="addSp delSp modSp mod">
        <pc:chgData name="Nivedha N A" userId="48795343-f4b0-4368-b9f1-c6e5f3910d48" providerId="ADAL" clId="{3E51CB64-41DE-4E99-AA61-015D66A9A29C}" dt="2025-09-01T14:45:09.509" v="2510" actId="1076"/>
        <pc:sldMkLst>
          <pc:docMk/>
          <pc:sldMk cId="1085679889" sldId="269"/>
        </pc:sldMkLst>
        <pc:spChg chg="mod">
          <ac:chgData name="Nivedha N A" userId="48795343-f4b0-4368-b9f1-c6e5f3910d48" providerId="ADAL" clId="{3E51CB64-41DE-4E99-AA61-015D66A9A29C}" dt="2025-09-01T10:20:53.782" v="285"/>
          <ac:spMkLst>
            <pc:docMk/>
            <pc:sldMk cId="1085679889" sldId="269"/>
            <ac:spMk id="3" creationId="{42C3F69D-D76D-4CFB-AD5F-C2A6D428E3D6}"/>
          </ac:spMkLst>
        </pc:spChg>
        <pc:spChg chg="mod">
          <ac:chgData name="Nivedha N A" userId="48795343-f4b0-4368-b9f1-c6e5f3910d48" providerId="ADAL" clId="{3E51CB64-41DE-4E99-AA61-015D66A9A29C}" dt="2025-09-01T10:05:55.536" v="97" actId="20577"/>
          <ac:spMkLst>
            <pc:docMk/>
            <pc:sldMk cId="1085679889" sldId="269"/>
            <ac:spMk id="5" creationId="{3310CE0A-9AAD-4E7F-A2A7-EF175D65B632}"/>
          </ac:spMkLst>
        </pc:spChg>
        <pc:spChg chg="del mod">
          <ac:chgData name="Nivedha N A" userId="48795343-f4b0-4368-b9f1-c6e5f3910d48" providerId="ADAL" clId="{3E51CB64-41DE-4E99-AA61-015D66A9A29C}" dt="2025-09-01T10:17:46.563" v="134" actId="21"/>
          <ac:spMkLst>
            <pc:docMk/>
            <pc:sldMk cId="1085679889" sldId="269"/>
            <ac:spMk id="6" creationId="{FA00883F-F124-4187-9967-B03237F827EF}"/>
          </ac:spMkLst>
        </pc:spChg>
        <pc:spChg chg="add">
          <ac:chgData name="Nivedha N A" userId="48795343-f4b0-4368-b9f1-c6e5f3910d48" providerId="ADAL" clId="{3E51CB64-41DE-4E99-AA61-015D66A9A29C}" dt="2025-09-01T10:07:24.368" v="102"/>
          <ac:spMkLst>
            <pc:docMk/>
            <pc:sldMk cId="1085679889" sldId="269"/>
            <ac:spMk id="7" creationId="{2957F69A-09D2-5F91-135B-D2CB55F20846}"/>
          </ac:spMkLst>
        </pc:spChg>
        <pc:spChg chg="mod">
          <ac:chgData name="Nivedha N A" userId="48795343-f4b0-4368-b9f1-c6e5f3910d48" providerId="ADAL" clId="{3E51CB64-41DE-4E99-AA61-015D66A9A29C}" dt="2025-09-01T14:40:08.665" v="2501" actId="20577"/>
          <ac:spMkLst>
            <pc:docMk/>
            <pc:sldMk cId="1085679889" sldId="269"/>
            <ac:spMk id="8" creationId="{B0B1E615-E944-47CD-AC27-55B477280C41}"/>
          </ac:spMkLst>
        </pc:spChg>
        <pc:spChg chg="add">
          <ac:chgData name="Nivedha N A" userId="48795343-f4b0-4368-b9f1-c6e5f3910d48" providerId="ADAL" clId="{3E51CB64-41DE-4E99-AA61-015D66A9A29C}" dt="2025-09-01T10:07:31.150" v="104"/>
          <ac:spMkLst>
            <pc:docMk/>
            <pc:sldMk cId="1085679889" sldId="269"/>
            <ac:spMk id="9" creationId="{A781F6FB-54B3-3CEF-2403-9FAF4C68D4DC}"/>
          </ac:spMkLst>
        </pc:spChg>
        <pc:spChg chg="add">
          <ac:chgData name="Nivedha N A" userId="48795343-f4b0-4368-b9f1-c6e5f3910d48" providerId="ADAL" clId="{3E51CB64-41DE-4E99-AA61-015D66A9A29C}" dt="2025-09-01T10:07:39.963" v="105"/>
          <ac:spMkLst>
            <pc:docMk/>
            <pc:sldMk cId="1085679889" sldId="269"/>
            <ac:spMk id="10" creationId="{DA32883E-AC20-BF92-9349-4FD961065D22}"/>
          </ac:spMkLst>
        </pc:spChg>
        <pc:picChg chg="add del mod">
          <ac:chgData name="Nivedha N A" userId="48795343-f4b0-4368-b9f1-c6e5f3910d48" providerId="ADAL" clId="{3E51CB64-41DE-4E99-AA61-015D66A9A29C}" dt="2025-09-01T14:35:20.002" v="2499" actId="21"/>
          <ac:picMkLst>
            <pc:docMk/>
            <pc:sldMk cId="1085679889" sldId="269"/>
            <ac:picMk id="11" creationId="{897EC520-73A6-BF28-74C0-F7DB83DF5DCB}"/>
          </ac:picMkLst>
        </pc:picChg>
        <pc:picChg chg="add mod">
          <ac:chgData name="Nivedha N A" userId="48795343-f4b0-4368-b9f1-c6e5f3910d48" providerId="ADAL" clId="{3E51CB64-41DE-4E99-AA61-015D66A9A29C}" dt="2025-09-01T14:35:23.690" v="2500" actId="1076"/>
          <ac:picMkLst>
            <pc:docMk/>
            <pc:sldMk cId="1085679889" sldId="269"/>
            <ac:picMk id="1029" creationId="{37ACF022-2339-3846-F0AC-06C6069BE90D}"/>
          </ac:picMkLst>
        </pc:picChg>
        <pc:picChg chg="add mod">
          <ac:chgData name="Nivedha N A" userId="48795343-f4b0-4368-b9f1-c6e5f3910d48" providerId="ADAL" clId="{3E51CB64-41DE-4E99-AA61-015D66A9A29C}" dt="2025-09-01T14:45:09.509" v="2510" actId="1076"/>
          <ac:picMkLst>
            <pc:docMk/>
            <pc:sldMk cId="1085679889" sldId="269"/>
            <ac:picMk id="1031" creationId="{7DAEF337-3973-BB7A-4CFA-4721FF02C468}"/>
          </ac:picMkLst>
        </pc:picChg>
      </pc:sldChg>
      <pc:sldChg chg="addSp modSp del mod">
        <pc:chgData name="Nivedha N A" userId="48795343-f4b0-4368-b9f1-c6e5f3910d48" providerId="ADAL" clId="{3E51CB64-41DE-4E99-AA61-015D66A9A29C}" dt="2025-09-02T13:54:41.522" v="3524" actId="2696"/>
        <pc:sldMkLst>
          <pc:docMk/>
          <pc:sldMk cId="4220273849" sldId="270"/>
        </pc:sldMkLst>
        <pc:spChg chg="mod">
          <ac:chgData name="Nivedha N A" userId="48795343-f4b0-4368-b9f1-c6e5f3910d48" providerId="ADAL" clId="{3E51CB64-41DE-4E99-AA61-015D66A9A29C}" dt="2025-09-01T10:09:21.614" v="114" actId="20577"/>
          <ac:spMkLst>
            <pc:docMk/>
            <pc:sldMk cId="4220273849" sldId="270"/>
            <ac:spMk id="16" creationId="{ECEA9429-8F9E-4952-BB10-BCE423C73BCD}"/>
          </ac:spMkLst>
        </pc:spChg>
        <pc:picChg chg="add mod">
          <ac:chgData name="Nivedha N A" userId="48795343-f4b0-4368-b9f1-c6e5f3910d48" providerId="ADAL" clId="{3E51CB64-41DE-4E99-AA61-015D66A9A29C}" dt="2025-09-01T10:09:58.677" v="121" actId="14100"/>
          <ac:picMkLst>
            <pc:docMk/>
            <pc:sldMk cId="4220273849" sldId="270"/>
            <ac:picMk id="6" creationId="{B496FC52-0A38-72DF-917E-3988431CA25E}"/>
          </ac:picMkLst>
        </pc:picChg>
      </pc:sldChg>
      <pc:sldChg chg="del">
        <pc:chgData name="Nivedha N A" userId="48795343-f4b0-4368-b9f1-c6e5f3910d48" providerId="ADAL" clId="{3E51CB64-41DE-4E99-AA61-015D66A9A29C}" dt="2025-09-02T13:54:41.522" v="3524" actId="2696"/>
        <pc:sldMkLst>
          <pc:docMk/>
          <pc:sldMk cId="3907478668" sldId="273"/>
        </pc:sldMkLst>
      </pc:sldChg>
      <pc:sldChg chg="del">
        <pc:chgData name="Nivedha N A" userId="48795343-f4b0-4368-b9f1-c6e5f3910d48" providerId="ADAL" clId="{3E51CB64-41DE-4E99-AA61-015D66A9A29C}" dt="2025-09-02T13:54:31.399" v="3523" actId="2696"/>
        <pc:sldMkLst>
          <pc:docMk/>
          <pc:sldMk cId="605538384" sldId="279"/>
        </pc:sldMkLst>
      </pc:sldChg>
      <pc:sldChg chg="del">
        <pc:chgData name="Nivedha N A" userId="48795343-f4b0-4368-b9f1-c6e5f3910d48" providerId="ADAL" clId="{3E51CB64-41DE-4E99-AA61-015D66A9A29C}" dt="2025-09-02T13:54:23.605" v="3522" actId="2696"/>
        <pc:sldMkLst>
          <pc:docMk/>
          <pc:sldMk cId="2623588317" sldId="280"/>
        </pc:sldMkLst>
      </pc:sldChg>
      <pc:sldChg chg="del">
        <pc:chgData name="Nivedha N A" userId="48795343-f4b0-4368-b9f1-c6e5f3910d48" providerId="ADAL" clId="{3E51CB64-41DE-4E99-AA61-015D66A9A29C}" dt="2025-09-02T13:54:31.399" v="3523" actId="2696"/>
        <pc:sldMkLst>
          <pc:docMk/>
          <pc:sldMk cId="3095708973" sldId="287"/>
        </pc:sldMkLst>
      </pc:sldChg>
      <pc:sldChg chg="modSp add">
        <pc:chgData name="Nivedha N A" userId="48795343-f4b0-4368-b9f1-c6e5f3910d48" providerId="ADAL" clId="{3E51CB64-41DE-4E99-AA61-015D66A9A29C}" dt="2025-09-02T13:55:44.667" v="3529"/>
        <pc:sldMkLst>
          <pc:docMk/>
          <pc:sldMk cId="3764670247" sldId="288"/>
        </pc:sldMkLst>
        <pc:spChg chg="mod">
          <ac:chgData name="Nivedha N A" userId="48795343-f4b0-4368-b9f1-c6e5f3910d48" providerId="ADAL" clId="{3E51CB64-41DE-4E99-AA61-015D66A9A29C}" dt="2025-09-02T13:55:44.667" v="3529"/>
          <ac:spMkLst>
            <pc:docMk/>
            <pc:sldMk cId="3764670247" sldId="288"/>
            <ac:spMk id="3" creationId="{4C7DAEA0-5F99-491B-88F0-E51AE5A4554F}"/>
          </ac:spMkLst>
        </pc:spChg>
      </pc:sldChg>
      <pc:sldChg chg="del">
        <pc:chgData name="Nivedha N A" userId="48795343-f4b0-4368-b9f1-c6e5f3910d48" providerId="ADAL" clId="{3E51CB64-41DE-4E99-AA61-015D66A9A29C}" dt="2025-09-01T10:06:16.018" v="101" actId="2696"/>
        <pc:sldMkLst>
          <pc:docMk/>
          <pc:sldMk cId="1311371785" sldId="297"/>
        </pc:sldMkLst>
      </pc:sldChg>
      <pc:sldChg chg="del">
        <pc:chgData name="Nivedha N A" userId="48795343-f4b0-4368-b9f1-c6e5f3910d48" providerId="ADAL" clId="{3E51CB64-41DE-4E99-AA61-015D66A9A29C}" dt="2025-09-02T13:54:31.399" v="3523" actId="2696"/>
        <pc:sldMkLst>
          <pc:docMk/>
          <pc:sldMk cId="2767620271" sldId="357"/>
        </pc:sldMkLst>
      </pc:sldChg>
      <pc:sldChg chg="del">
        <pc:chgData name="Nivedha N A" userId="48795343-f4b0-4368-b9f1-c6e5f3910d48" providerId="ADAL" clId="{3E51CB64-41DE-4E99-AA61-015D66A9A29C}" dt="2025-09-02T13:54:31.399" v="3523" actId="2696"/>
        <pc:sldMkLst>
          <pc:docMk/>
          <pc:sldMk cId="4065022239" sldId="358"/>
        </pc:sldMkLst>
      </pc:sldChg>
      <pc:sldChg chg="del">
        <pc:chgData name="Nivedha N A" userId="48795343-f4b0-4368-b9f1-c6e5f3910d48" providerId="ADAL" clId="{3E51CB64-41DE-4E99-AA61-015D66A9A29C}" dt="2025-09-02T13:54:41.522" v="3524" actId="2696"/>
        <pc:sldMkLst>
          <pc:docMk/>
          <pc:sldMk cId="2639234891" sldId="359"/>
        </pc:sldMkLst>
      </pc:sldChg>
      <pc:sldChg chg="del">
        <pc:chgData name="Nivedha N A" userId="48795343-f4b0-4368-b9f1-c6e5f3910d48" providerId="ADAL" clId="{3E51CB64-41DE-4E99-AA61-015D66A9A29C}" dt="2025-09-02T13:54:31.399" v="3523" actId="2696"/>
        <pc:sldMkLst>
          <pc:docMk/>
          <pc:sldMk cId="2371574227" sldId="369"/>
        </pc:sldMkLst>
      </pc:sldChg>
      <pc:sldChg chg="del">
        <pc:chgData name="Nivedha N A" userId="48795343-f4b0-4368-b9f1-c6e5f3910d48" providerId="ADAL" clId="{3E51CB64-41DE-4E99-AA61-015D66A9A29C}" dt="2025-09-02T13:54:41.522" v="3524" actId="2696"/>
        <pc:sldMkLst>
          <pc:docMk/>
          <pc:sldMk cId="1662555385" sldId="388"/>
        </pc:sldMkLst>
      </pc:sldChg>
      <pc:sldChg chg="modSp mod">
        <pc:chgData name="Nivedha N A" userId="48795343-f4b0-4368-b9f1-c6e5f3910d48" providerId="ADAL" clId="{3E51CB64-41DE-4E99-AA61-015D66A9A29C}" dt="2025-09-01T09:43:38.309" v="20" actId="20577"/>
        <pc:sldMkLst>
          <pc:docMk/>
          <pc:sldMk cId="2861970163" sldId="389"/>
        </pc:sldMkLst>
        <pc:spChg chg="mod">
          <ac:chgData name="Nivedha N A" userId="48795343-f4b0-4368-b9f1-c6e5f3910d48" providerId="ADAL" clId="{3E51CB64-41DE-4E99-AA61-015D66A9A29C}" dt="2025-09-01T09:43:38.309" v="20" actId="20577"/>
          <ac:spMkLst>
            <pc:docMk/>
            <pc:sldMk cId="2861970163" sldId="389"/>
            <ac:spMk id="6" creationId="{47FAEEF0-36B7-4481-8228-07ECAE5665B2}"/>
          </ac:spMkLst>
        </pc:spChg>
      </pc:sldChg>
      <pc:sldChg chg="del">
        <pc:chgData name="Nivedha N A" userId="48795343-f4b0-4368-b9f1-c6e5f3910d48" providerId="ADAL" clId="{3E51CB64-41DE-4E99-AA61-015D66A9A29C}" dt="2025-09-01T09:45:05.308" v="23" actId="2696"/>
        <pc:sldMkLst>
          <pc:docMk/>
          <pc:sldMk cId="3631032012" sldId="390"/>
        </pc:sldMkLst>
      </pc:sldChg>
      <pc:sldChg chg="del">
        <pc:chgData name="Nivedha N A" userId="48795343-f4b0-4368-b9f1-c6e5f3910d48" providerId="ADAL" clId="{3E51CB64-41DE-4E99-AA61-015D66A9A29C}" dt="2025-09-01T09:45:08.564" v="24" actId="2696"/>
        <pc:sldMkLst>
          <pc:docMk/>
          <pc:sldMk cId="1221361603" sldId="391"/>
        </pc:sldMkLst>
      </pc:sldChg>
      <pc:sldChg chg="del">
        <pc:chgData name="Nivedha N A" userId="48795343-f4b0-4368-b9f1-c6e5f3910d48" providerId="ADAL" clId="{3E51CB64-41DE-4E99-AA61-015D66A9A29C}" dt="2025-09-02T13:54:41.522" v="3524" actId="2696"/>
        <pc:sldMkLst>
          <pc:docMk/>
          <pc:sldMk cId="2854860422" sldId="392"/>
        </pc:sldMkLst>
      </pc:sldChg>
      <pc:sldChg chg="del">
        <pc:chgData name="Nivedha N A" userId="48795343-f4b0-4368-b9f1-c6e5f3910d48" providerId="ADAL" clId="{3E51CB64-41DE-4E99-AA61-015D66A9A29C}" dt="2025-09-02T13:54:41.522" v="3524" actId="2696"/>
        <pc:sldMkLst>
          <pc:docMk/>
          <pc:sldMk cId="2428717061" sldId="393"/>
        </pc:sldMkLst>
      </pc:sldChg>
      <pc:sldChg chg="modSp add del">
        <pc:chgData name="Nivedha N A" userId="48795343-f4b0-4368-b9f1-c6e5f3910d48" providerId="ADAL" clId="{3E51CB64-41DE-4E99-AA61-015D66A9A29C}" dt="2025-09-02T13:55:00.799" v="3527" actId="2696"/>
        <pc:sldMkLst>
          <pc:docMk/>
          <pc:sldMk cId="4035000069" sldId="394"/>
        </pc:sldMkLst>
        <pc:spChg chg="mod">
          <ac:chgData name="Nivedha N A" userId="48795343-f4b0-4368-b9f1-c6e5f3910d48" providerId="ADAL" clId="{3E51CB64-41DE-4E99-AA61-015D66A9A29C}" dt="2025-09-01T11:59:24.797" v="708"/>
          <ac:spMkLst>
            <pc:docMk/>
            <pc:sldMk cId="4035000069" sldId="394"/>
            <ac:spMk id="5" creationId="{812EA3FF-DE0E-DD04-EFBF-5063BD3C3083}"/>
          </ac:spMkLst>
        </pc:spChg>
      </pc:sldChg>
      <pc:sldChg chg="addSp delSp modSp add del mod">
        <pc:chgData name="Nivedha N A" userId="48795343-f4b0-4368-b9f1-c6e5f3910d48" providerId="ADAL" clId="{3E51CB64-41DE-4E99-AA61-015D66A9A29C}" dt="2025-09-02T05:18:37.816" v="3337" actId="2696"/>
        <pc:sldMkLst>
          <pc:docMk/>
          <pc:sldMk cId="1826746480" sldId="536"/>
        </pc:sldMkLst>
        <pc:spChg chg="del">
          <ac:chgData name="Nivedha N A" userId="48795343-f4b0-4368-b9f1-c6e5f3910d48" providerId="ADAL" clId="{3E51CB64-41DE-4E99-AA61-015D66A9A29C}" dt="2025-09-02T04:55:20.209" v="3128"/>
          <ac:spMkLst>
            <pc:docMk/>
            <pc:sldMk cId="1826746480" sldId="536"/>
            <ac:spMk id="6" creationId="{03E0785A-9BF4-CD47-B681-5812B68F74E0}"/>
          </ac:spMkLst>
        </pc:spChg>
        <pc:spChg chg="add">
          <ac:chgData name="Nivedha N A" userId="48795343-f4b0-4368-b9f1-c6e5f3910d48" providerId="ADAL" clId="{3E51CB64-41DE-4E99-AA61-015D66A9A29C}" dt="2025-09-02T04:59:39.719" v="3129"/>
          <ac:spMkLst>
            <pc:docMk/>
            <pc:sldMk cId="1826746480" sldId="536"/>
            <ac:spMk id="7" creationId="{C35E1BCE-C28C-B507-5FDD-EF69F42173E8}"/>
          </ac:spMkLst>
        </pc:spChg>
        <pc:spChg chg="mod">
          <ac:chgData name="Nivedha N A" userId="48795343-f4b0-4368-b9f1-c6e5f3910d48" providerId="ADAL" clId="{3E51CB64-41DE-4E99-AA61-015D66A9A29C}" dt="2025-09-02T05:08:59.002" v="3144"/>
          <ac:spMkLst>
            <pc:docMk/>
            <pc:sldMk cId="1826746480" sldId="536"/>
            <ac:spMk id="8" creationId="{9DF9A333-C0F3-4E7D-BF67-EC7A6BDEF6CC}"/>
          </ac:spMkLst>
        </pc:spChg>
        <pc:spChg chg="mod">
          <ac:chgData name="Nivedha N A" userId="48795343-f4b0-4368-b9f1-c6e5f3910d48" providerId="ADAL" clId="{3E51CB64-41DE-4E99-AA61-015D66A9A29C}" dt="2025-09-02T05:09:11.029" v="3145"/>
          <ac:spMkLst>
            <pc:docMk/>
            <pc:sldMk cId="1826746480" sldId="536"/>
            <ac:spMk id="9" creationId="{44DECE31-B638-4DC8-8E60-4C839868027A}"/>
          </ac:spMkLst>
        </pc:spChg>
        <pc:spChg chg="mod">
          <ac:chgData name="Nivedha N A" userId="48795343-f4b0-4368-b9f1-c6e5f3910d48" providerId="ADAL" clId="{3E51CB64-41DE-4E99-AA61-015D66A9A29C}" dt="2025-09-02T05:09:53.468" v="3185" actId="20577"/>
          <ac:spMkLst>
            <pc:docMk/>
            <pc:sldMk cId="1826746480" sldId="536"/>
            <ac:spMk id="10" creationId="{FFBD8A28-D62A-432D-BFF3-C17A044A5F26}"/>
          </ac:spMkLst>
        </pc:spChg>
        <pc:spChg chg="mod">
          <ac:chgData name="Nivedha N A" userId="48795343-f4b0-4368-b9f1-c6e5f3910d48" providerId="ADAL" clId="{3E51CB64-41DE-4E99-AA61-015D66A9A29C}" dt="2025-09-02T05:09:44.134" v="3182" actId="20577"/>
          <ac:spMkLst>
            <pc:docMk/>
            <pc:sldMk cId="1826746480" sldId="536"/>
            <ac:spMk id="11" creationId="{298B5054-A371-41F1-9441-15CBE0B109CE}"/>
          </ac:spMkLst>
        </pc:spChg>
        <pc:spChg chg="mod">
          <ac:chgData name="Nivedha N A" userId="48795343-f4b0-4368-b9f1-c6e5f3910d48" providerId="ADAL" clId="{3E51CB64-41DE-4E99-AA61-015D66A9A29C}" dt="2025-09-02T05:01:36.261" v="3143" actId="20577"/>
          <ac:spMkLst>
            <pc:docMk/>
            <pc:sldMk cId="1826746480" sldId="536"/>
            <ac:spMk id="12" creationId="{4B28D1FB-0B3F-4AA1-8402-7AD78FAB3ED2}"/>
          </ac:spMkLst>
        </pc:spChg>
        <pc:spChg chg="add mod">
          <ac:chgData name="Nivedha N A" userId="48795343-f4b0-4368-b9f1-c6e5f3910d48" providerId="ADAL" clId="{3E51CB64-41DE-4E99-AA61-015D66A9A29C}" dt="2025-09-02T04:59:50.655" v="3131"/>
          <ac:spMkLst>
            <pc:docMk/>
            <pc:sldMk cId="1826746480" sldId="536"/>
            <ac:spMk id="13" creationId="{BEC70B4D-D58C-62FF-284F-05AC1F188B08}"/>
          </ac:spMkLst>
        </pc:spChg>
        <pc:picChg chg="add mod">
          <ac:chgData name="Nivedha N A" userId="48795343-f4b0-4368-b9f1-c6e5f3910d48" providerId="ADAL" clId="{3E51CB64-41DE-4E99-AA61-015D66A9A29C}" dt="2025-09-02T04:55:20.209" v="3128"/>
          <ac:picMkLst>
            <pc:docMk/>
            <pc:sldMk cId="1826746480" sldId="536"/>
            <ac:picMk id="5" creationId="{31C5BD04-B4BB-40BF-FBA0-FD4502083585}"/>
          </ac:picMkLst>
        </pc:picChg>
      </pc:sldChg>
      <pc:sldChg chg="addSp delSp modSp add del mod">
        <pc:chgData name="Nivedha N A" userId="48795343-f4b0-4368-b9f1-c6e5f3910d48" providerId="ADAL" clId="{3E51CB64-41DE-4E99-AA61-015D66A9A29C}" dt="2025-09-02T08:50:18.581" v="3447" actId="2696"/>
        <pc:sldMkLst>
          <pc:docMk/>
          <pc:sldMk cId="67126905" sldId="551"/>
        </pc:sldMkLst>
        <pc:spChg chg="mod">
          <ac:chgData name="Nivedha N A" userId="48795343-f4b0-4368-b9f1-c6e5f3910d48" providerId="ADAL" clId="{3E51CB64-41DE-4E99-AA61-015D66A9A29C}" dt="2025-09-01T12:36:24.539" v="1787" actId="20577"/>
          <ac:spMkLst>
            <pc:docMk/>
            <pc:sldMk cId="67126905" sldId="551"/>
            <ac:spMk id="2" creationId="{F26F2704-224C-4268-84AD-8C7413EA0EA5}"/>
          </ac:spMkLst>
        </pc:spChg>
        <pc:spChg chg="mod">
          <ac:chgData name="Nivedha N A" userId="48795343-f4b0-4368-b9f1-c6e5f3910d48" providerId="ADAL" clId="{3E51CB64-41DE-4E99-AA61-015D66A9A29C}" dt="2025-09-01T13:36:42.436" v="2435"/>
          <ac:spMkLst>
            <pc:docMk/>
            <pc:sldMk cId="67126905" sldId="551"/>
            <ac:spMk id="3" creationId="{BCB0D150-E5AD-4035-9324-E1BA845547A4}"/>
          </ac:spMkLst>
        </pc:spChg>
        <pc:spChg chg="mod">
          <ac:chgData name="Nivedha N A" userId="48795343-f4b0-4368-b9f1-c6e5f3910d48" providerId="ADAL" clId="{3E51CB64-41DE-4E99-AA61-015D66A9A29C}" dt="2025-09-01T12:38:50.623" v="1838" actId="1076"/>
          <ac:spMkLst>
            <pc:docMk/>
            <pc:sldMk cId="67126905" sldId="551"/>
            <ac:spMk id="5" creationId="{5FE7BC9D-16E4-444E-98DB-F8F0004526C2}"/>
          </ac:spMkLst>
        </pc:spChg>
        <pc:spChg chg="mod">
          <ac:chgData name="Nivedha N A" userId="48795343-f4b0-4368-b9f1-c6e5f3910d48" providerId="ADAL" clId="{3E51CB64-41DE-4E99-AA61-015D66A9A29C}" dt="2025-09-02T08:49:13.409" v="3446" actId="20577"/>
          <ac:spMkLst>
            <pc:docMk/>
            <pc:sldMk cId="67126905" sldId="551"/>
            <ac:spMk id="6" creationId="{A8A56205-ACC0-4197-B102-30E61172D81A}"/>
          </ac:spMkLst>
        </pc:spChg>
        <pc:spChg chg="add del">
          <ac:chgData name="Nivedha N A" userId="48795343-f4b0-4368-b9f1-c6e5f3910d48" providerId="ADAL" clId="{3E51CB64-41DE-4E99-AA61-015D66A9A29C}" dt="2025-09-01T12:50:18.003" v="2228" actId="21"/>
          <ac:spMkLst>
            <pc:docMk/>
            <pc:sldMk cId="67126905" sldId="551"/>
            <ac:spMk id="7" creationId="{D244FF20-5CB0-41FE-BC68-8AEB93DD053D}"/>
          </ac:spMkLst>
        </pc:spChg>
        <pc:spChg chg="add">
          <ac:chgData name="Nivedha N A" userId="48795343-f4b0-4368-b9f1-c6e5f3910d48" providerId="ADAL" clId="{3E51CB64-41DE-4E99-AA61-015D66A9A29C}" dt="2025-09-01T12:38:04.672" v="1835"/>
          <ac:spMkLst>
            <pc:docMk/>
            <pc:sldMk cId="67126905" sldId="551"/>
            <ac:spMk id="8" creationId="{5F22E8AA-4277-55A9-0478-B6EF8FA19BE0}"/>
          </ac:spMkLst>
        </pc:spChg>
        <pc:picChg chg="add del">
          <ac:chgData name="Nivedha N A" userId="48795343-f4b0-4368-b9f1-c6e5f3910d48" providerId="ADAL" clId="{3E51CB64-41DE-4E99-AA61-015D66A9A29C}" dt="2025-09-01T12:50:22.037" v="2229" actId="21"/>
          <ac:picMkLst>
            <pc:docMk/>
            <pc:sldMk cId="67126905" sldId="551"/>
            <ac:picMk id="9" creationId="{3C559F27-33ED-4D7E-816F-85D732604942}"/>
          </ac:picMkLst>
        </pc:picChg>
      </pc:sldChg>
      <pc:sldChg chg="addSp modSp add del mod">
        <pc:chgData name="Nivedha N A" userId="48795343-f4b0-4368-b9f1-c6e5f3910d48" providerId="ADAL" clId="{3E51CB64-41DE-4E99-AA61-015D66A9A29C}" dt="2025-09-02T13:54:55.730" v="3525" actId="2696"/>
        <pc:sldMkLst>
          <pc:docMk/>
          <pc:sldMk cId="244715785" sldId="555"/>
        </pc:sldMkLst>
        <pc:spChg chg="mod">
          <ac:chgData name="Nivedha N A" userId="48795343-f4b0-4368-b9f1-c6e5f3910d48" providerId="ADAL" clId="{3E51CB64-41DE-4E99-AA61-015D66A9A29C}" dt="2025-09-01T10:59:42.319" v="289"/>
          <ac:spMkLst>
            <pc:docMk/>
            <pc:sldMk cId="244715785" sldId="555"/>
            <ac:spMk id="2" creationId="{C558261E-FF73-433C-AE53-D6B8AAA35A56}"/>
          </ac:spMkLst>
        </pc:spChg>
        <pc:spChg chg="mod">
          <ac:chgData name="Nivedha N A" userId="48795343-f4b0-4368-b9f1-c6e5f3910d48" providerId="ADAL" clId="{3E51CB64-41DE-4E99-AA61-015D66A9A29C}" dt="2025-09-01T11:02:24.068" v="365" actId="20577"/>
          <ac:spMkLst>
            <pc:docMk/>
            <pc:sldMk cId="244715785" sldId="555"/>
            <ac:spMk id="5" creationId="{F3BF0C74-C1E9-4B16-ADD8-5BB4E36DC21E}"/>
          </ac:spMkLst>
        </pc:spChg>
        <pc:spChg chg="mod">
          <ac:chgData name="Nivedha N A" userId="48795343-f4b0-4368-b9f1-c6e5f3910d48" providerId="ADAL" clId="{3E51CB64-41DE-4E99-AA61-015D66A9A29C}" dt="2025-09-01T11:49:59.533" v="703"/>
          <ac:spMkLst>
            <pc:docMk/>
            <pc:sldMk cId="244715785" sldId="555"/>
            <ac:spMk id="6" creationId="{D2B253C4-0E4C-4F67-8501-22A59BC2F517}"/>
          </ac:spMkLst>
        </pc:spChg>
        <pc:spChg chg="mod">
          <ac:chgData name="Nivedha N A" userId="48795343-f4b0-4368-b9f1-c6e5f3910d48" providerId="ADAL" clId="{3E51CB64-41DE-4E99-AA61-015D66A9A29C}" dt="2025-09-01T11:02:50.333" v="400" actId="20577"/>
          <ac:spMkLst>
            <pc:docMk/>
            <pc:sldMk cId="244715785" sldId="555"/>
            <ac:spMk id="7" creationId="{47E2BA5F-2DAE-4315-BE2D-5ACB373434F6}"/>
          </ac:spMkLst>
        </pc:spChg>
        <pc:spChg chg="mod">
          <ac:chgData name="Nivedha N A" userId="48795343-f4b0-4368-b9f1-c6e5f3910d48" providerId="ADAL" clId="{3E51CB64-41DE-4E99-AA61-015D66A9A29C}" dt="2025-09-01T11:50:08.555" v="705"/>
          <ac:spMkLst>
            <pc:docMk/>
            <pc:sldMk cId="244715785" sldId="555"/>
            <ac:spMk id="8" creationId="{9594799F-AC59-4CF9-BC84-8404B9899883}"/>
          </ac:spMkLst>
        </pc:spChg>
        <pc:spChg chg="mod">
          <ac:chgData name="Nivedha N A" userId="48795343-f4b0-4368-b9f1-c6e5f3910d48" providerId="ADAL" clId="{3E51CB64-41DE-4E99-AA61-015D66A9A29C}" dt="2025-09-01T11:47:33.371" v="503"/>
          <ac:spMkLst>
            <pc:docMk/>
            <pc:sldMk cId="244715785" sldId="555"/>
            <ac:spMk id="9" creationId="{B923BAB0-B855-4B7E-A8C9-B5C73130C570}"/>
          </ac:spMkLst>
        </pc:spChg>
        <pc:spChg chg="mod">
          <ac:chgData name="Nivedha N A" userId="48795343-f4b0-4368-b9f1-c6e5f3910d48" providerId="ADAL" clId="{3E51CB64-41DE-4E99-AA61-015D66A9A29C}" dt="2025-09-01T11:50:18.644" v="707"/>
          <ac:spMkLst>
            <pc:docMk/>
            <pc:sldMk cId="244715785" sldId="555"/>
            <ac:spMk id="10" creationId="{CFCC2059-09B5-4455-91AA-7B7D59AEA4B8}"/>
          </ac:spMkLst>
        </pc:spChg>
        <pc:spChg chg="add">
          <ac:chgData name="Nivedha N A" userId="48795343-f4b0-4368-b9f1-c6e5f3910d48" providerId="ADAL" clId="{3E51CB64-41DE-4E99-AA61-015D66A9A29C}" dt="2025-09-01T11:00:53.066" v="295"/>
          <ac:spMkLst>
            <pc:docMk/>
            <pc:sldMk cId="244715785" sldId="555"/>
            <ac:spMk id="11" creationId="{EDDA30C1-2712-03AF-C6FE-C6F9AD63D01A}"/>
          </ac:spMkLst>
        </pc:spChg>
        <pc:spChg chg="add">
          <ac:chgData name="Nivedha N A" userId="48795343-f4b0-4368-b9f1-c6e5f3910d48" providerId="ADAL" clId="{3E51CB64-41DE-4E99-AA61-015D66A9A29C}" dt="2025-09-01T11:00:56.867" v="296"/>
          <ac:spMkLst>
            <pc:docMk/>
            <pc:sldMk cId="244715785" sldId="555"/>
            <ac:spMk id="12" creationId="{D2B43DF3-3AC2-7704-8545-029453293CAC}"/>
          </ac:spMkLst>
        </pc:spChg>
        <pc:spChg chg="add">
          <ac:chgData name="Nivedha N A" userId="48795343-f4b0-4368-b9f1-c6e5f3910d48" providerId="ADAL" clId="{3E51CB64-41DE-4E99-AA61-015D66A9A29C}" dt="2025-09-01T11:01:06.715" v="301"/>
          <ac:spMkLst>
            <pc:docMk/>
            <pc:sldMk cId="244715785" sldId="555"/>
            <ac:spMk id="13" creationId="{C6D0D136-C8D7-9154-956F-79DFD07D6A24}"/>
          </ac:spMkLst>
        </pc:spChg>
      </pc:sldChg>
      <pc:sldChg chg="addSp delSp modSp add del mod">
        <pc:chgData name="Nivedha N A" userId="48795343-f4b0-4368-b9f1-c6e5f3910d48" providerId="ADAL" clId="{3E51CB64-41DE-4E99-AA61-015D66A9A29C}" dt="2025-09-02T13:38:53.940" v="3521" actId="2696"/>
        <pc:sldMkLst>
          <pc:docMk/>
          <pc:sldMk cId="1168618435" sldId="556"/>
        </pc:sldMkLst>
        <pc:spChg chg="mod">
          <ac:chgData name="Nivedha N A" userId="48795343-f4b0-4368-b9f1-c6e5f3910d48" providerId="ADAL" clId="{3E51CB64-41DE-4E99-AA61-015D66A9A29C}" dt="2025-09-02T08:50:50.283" v="3448"/>
          <ac:spMkLst>
            <pc:docMk/>
            <pc:sldMk cId="1168618435" sldId="556"/>
            <ac:spMk id="3" creationId="{CD183719-29A4-4C73-9A98-9A907598A530}"/>
          </ac:spMkLst>
        </pc:spChg>
        <pc:spChg chg="add del mod">
          <ac:chgData name="Nivedha N A" userId="48795343-f4b0-4368-b9f1-c6e5f3910d48" providerId="ADAL" clId="{3E51CB64-41DE-4E99-AA61-015D66A9A29C}" dt="2025-09-02T05:12:35.682" v="3189" actId="21"/>
          <ac:spMkLst>
            <pc:docMk/>
            <pc:sldMk cId="1168618435" sldId="556"/>
            <ac:spMk id="6" creationId="{BFB2BFA6-5D7C-7250-2DCA-8793F6B3DA86}"/>
          </ac:spMkLst>
        </pc:spChg>
        <pc:spChg chg="mod">
          <ac:chgData name="Nivedha N A" userId="48795343-f4b0-4368-b9f1-c6e5f3910d48" providerId="ADAL" clId="{3E51CB64-41DE-4E99-AA61-015D66A9A29C}" dt="2025-09-02T05:13:21.967" v="3218" actId="20577"/>
          <ac:spMkLst>
            <pc:docMk/>
            <pc:sldMk cId="1168618435" sldId="556"/>
            <ac:spMk id="7" creationId="{398E5219-C3E2-4FC9-9016-49E393C27C21}"/>
          </ac:spMkLst>
        </pc:spChg>
        <pc:spChg chg="del">
          <ac:chgData name="Nivedha N A" userId="48795343-f4b0-4368-b9f1-c6e5f3910d48" providerId="ADAL" clId="{3E51CB64-41DE-4E99-AA61-015D66A9A29C}" dt="2025-09-02T05:12:28.873" v="3188" actId="21"/>
          <ac:spMkLst>
            <pc:docMk/>
            <pc:sldMk cId="1168618435" sldId="556"/>
            <ac:spMk id="8" creationId="{2ACF6B71-F1DE-42A6-84EB-2E841E131A05}"/>
          </ac:spMkLst>
        </pc:spChg>
        <pc:spChg chg="del">
          <ac:chgData name="Nivedha N A" userId="48795343-f4b0-4368-b9f1-c6e5f3910d48" providerId="ADAL" clId="{3E51CB64-41DE-4E99-AA61-015D66A9A29C}" dt="2025-09-02T05:12:18.142" v="3187" actId="21"/>
          <ac:spMkLst>
            <pc:docMk/>
            <pc:sldMk cId="1168618435" sldId="556"/>
            <ac:spMk id="9" creationId="{244158C3-8942-4193-9C90-7C97C148399C}"/>
          </ac:spMkLst>
        </pc:spChg>
        <pc:spChg chg="add del mod">
          <ac:chgData name="Nivedha N A" userId="48795343-f4b0-4368-b9f1-c6e5f3910d48" providerId="ADAL" clId="{3E51CB64-41DE-4E99-AA61-015D66A9A29C}" dt="2025-09-02T05:12:43.600" v="3190" actId="21"/>
          <ac:spMkLst>
            <pc:docMk/>
            <pc:sldMk cId="1168618435" sldId="556"/>
            <ac:spMk id="11" creationId="{01F9906F-2404-F8CE-04D9-8C41006B2E1D}"/>
          </ac:spMkLst>
        </pc:spChg>
        <pc:spChg chg="add">
          <ac:chgData name="Nivedha N A" userId="48795343-f4b0-4368-b9f1-c6e5f3910d48" providerId="ADAL" clId="{3E51CB64-41DE-4E99-AA61-015D66A9A29C}" dt="2025-09-02T05:13:52.413" v="3228"/>
          <ac:spMkLst>
            <pc:docMk/>
            <pc:sldMk cId="1168618435" sldId="556"/>
            <ac:spMk id="13" creationId="{B764A007-0F65-6B3E-6725-4BF2DC251504}"/>
          </ac:spMkLst>
        </pc:spChg>
        <pc:spChg chg="mod">
          <ac:chgData name="Nivedha N A" userId="48795343-f4b0-4368-b9f1-c6e5f3910d48" providerId="ADAL" clId="{3E51CB64-41DE-4E99-AA61-015D66A9A29C}" dt="2025-09-02T05:15:11.577" v="3259" actId="20577"/>
          <ac:spMkLst>
            <pc:docMk/>
            <pc:sldMk cId="1168618435" sldId="556"/>
            <ac:spMk id="15" creationId="{1D5BE3C5-4776-4332-95C2-F20E83069A93}"/>
          </ac:spMkLst>
        </pc:spChg>
        <pc:spChg chg="mod">
          <ac:chgData name="Nivedha N A" userId="48795343-f4b0-4368-b9f1-c6e5f3910d48" providerId="ADAL" clId="{3E51CB64-41DE-4E99-AA61-015D66A9A29C}" dt="2025-09-02T08:48:21.442" v="3445" actId="20577"/>
          <ac:spMkLst>
            <pc:docMk/>
            <pc:sldMk cId="1168618435" sldId="556"/>
            <ac:spMk id="16" creationId="{ECEA9429-8F9E-4952-BB10-BCE423C73BCD}"/>
          </ac:spMkLst>
        </pc:spChg>
        <pc:picChg chg="add mod">
          <ac:chgData name="Nivedha N A" userId="48795343-f4b0-4368-b9f1-c6e5f3910d48" providerId="ADAL" clId="{3E51CB64-41DE-4E99-AA61-015D66A9A29C}" dt="2025-09-02T05:14:45.696" v="3237" actId="14100"/>
          <ac:picMkLst>
            <pc:docMk/>
            <pc:sldMk cId="1168618435" sldId="556"/>
            <ac:picMk id="12" creationId="{871FD5AA-18BE-57C6-8E05-E6D365FA7DD1}"/>
          </ac:picMkLst>
        </pc:picChg>
      </pc:sldChg>
      <pc:sldChg chg="modSp add del mod">
        <pc:chgData name="Nivedha N A" userId="48795343-f4b0-4368-b9f1-c6e5f3910d48" providerId="ADAL" clId="{3E51CB64-41DE-4E99-AA61-015D66A9A29C}" dt="2025-09-01T12:04:29.513" v="714" actId="2696"/>
        <pc:sldMkLst>
          <pc:docMk/>
          <pc:sldMk cId="1455720448" sldId="556"/>
        </pc:sldMkLst>
        <pc:spChg chg="mod">
          <ac:chgData name="Nivedha N A" userId="48795343-f4b0-4368-b9f1-c6e5f3910d48" providerId="ADAL" clId="{3E51CB64-41DE-4E99-AA61-015D66A9A29C}" dt="2025-09-01T12:02:54.133" v="710"/>
          <ac:spMkLst>
            <pc:docMk/>
            <pc:sldMk cId="1455720448" sldId="556"/>
            <ac:spMk id="5" creationId="{4B23342F-6A85-EFEC-16B1-7BFF2C6004EB}"/>
          </ac:spMkLst>
        </pc:spChg>
        <pc:spChg chg="mod">
          <ac:chgData name="Nivedha N A" userId="48795343-f4b0-4368-b9f1-c6e5f3910d48" providerId="ADAL" clId="{3E51CB64-41DE-4E99-AA61-015D66A9A29C}" dt="2025-09-01T12:04:00.319" v="712" actId="1076"/>
          <ac:spMkLst>
            <pc:docMk/>
            <pc:sldMk cId="1455720448" sldId="556"/>
            <ac:spMk id="8" creationId="{73388951-40D1-5C5E-F4F6-4F2198F32F8A}"/>
          </ac:spMkLst>
        </pc:spChg>
      </pc:sldChg>
      <pc:sldChg chg="addSp delSp modSp add mod">
        <pc:chgData name="Nivedha N A" userId="48795343-f4b0-4368-b9f1-c6e5f3910d48" providerId="ADAL" clId="{3E51CB64-41DE-4E99-AA61-015D66A9A29C}" dt="2025-09-02T08:52:15.438" v="3474" actId="20577"/>
        <pc:sldMkLst>
          <pc:docMk/>
          <pc:sldMk cId="1508089594" sldId="557"/>
        </pc:sldMkLst>
        <pc:spChg chg="mod">
          <ac:chgData name="Nivedha N A" userId="48795343-f4b0-4368-b9f1-c6e5f3910d48" providerId="ADAL" clId="{3E51CB64-41DE-4E99-AA61-015D66A9A29C}" dt="2025-09-01T13:35:50.210" v="2428"/>
          <ac:spMkLst>
            <pc:docMk/>
            <pc:sldMk cId="1508089594" sldId="557"/>
            <ac:spMk id="3" creationId="{42C3F69D-D76D-4CFB-AD5F-C2A6D428E3D6}"/>
          </ac:spMkLst>
        </pc:spChg>
        <pc:spChg chg="mod">
          <ac:chgData name="Nivedha N A" userId="48795343-f4b0-4368-b9f1-c6e5f3910d48" providerId="ADAL" clId="{3E51CB64-41DE-4E99-AA61-015D66A9A29C}" dt="2025-09-01T12:04:38.197" v="715"/>
          <ac:spMkLst>
            <pc:docMk/>
            <pc:sldMk cId="1508089594" sldId="557"/>
            <ac:spMk id="5" creationId="{3310CE0A-9AAD-4E7F-A2A7-EF175D65B632}"/>
          </ac:spMkLst>
        </pc:spChg>
        <pc:spChg chg="mod">
          <ac:chgData name="Nivedha N A" userId="48795343-f4b0-4368-b9f1-c6e5f3910d48" providerId="ADAL" clId="{3E51CB64-41DE-4E99-AA61-015D66A9A29C}" dt="2025-09-01T14:54:34.110" v="2594" actId="1076"/>
          <ac:spMkLst>
            <pc:docMk/>
            <pc:sldMk cId="1508089594" sldId="557"/>
            <ac:spMk id="6" creationId="{FA00883F-F124-4187-9967-B03237F827EF}"/>
          </ac:spMkLst>
        </pc:spChg>
        <pc:spChg chg="mod">
          <ac:chgData name="Nivedha N A" userId="48795343-f4b0-4368-b9f1-c6e5f3910d48" providerId="ADAL" clId="{3E51CB64-41DE-4E99-AA61-015D66A9A29C}" dt="2025-09-02T08:52:15.438" v="3474" actId="20577"/>
          <ac:spMkLst>
            <pc:docMk/>
            <pc:sldMk cId="1508089594" sldId="557"/>
            <ac:spMk id="8" creationId="{B0B1E615-E944-47CD-AC27-55B477280C41}"/>
          </ac:spMkLst>
        </pc:spChg>
        <pc:picChg chg="add del mod">
          <ac:chgData name="Nivedha N A" userId="48795343-f4b0-4368-b9f1-c6e5f3910d48" providerId="ADAL" clId="{3E51CB64-41DE-4E99-AA61-015D66A9A29C}" dt="2025-09-02T08:52:11.521" v="3463" actId="21"/>
          <ac:picMkLst>
            <pc:docMk/>
            <pc:sldMk cId="1508089594" sldId="557"/>
            <ac:picMk id="9" creationId="{01E6F3AE-53D7-934F-DEBC-34BF76B3F927}"/>
          </ac:picMkLst>
        </pc:picChg>
      </pc:sldChg>
      <pc:sldChg chg="addSp delSp modSp add mod">
        <pc:chgData name="Nivedha N A" userId="48795343-f4b0-4368-b9f1-c6e5f3910d48" providerId="ADAL" clId="{3E51CB64-41DE-4E99-AA61-015D66A9A29C}" dt="2025-09-02T03:39:29.862" v="3043" actId="1076"/>
        <pc:sldMkLst>
          <pc:docMk/>
          <pc:sldMk cId="2341847114" sldId="558"/>
        </pc:sldMkLst>
        <pc:spChg chg="mod">
          <ac:chgData name="Nivedha N A" userId="48795343-f4b0-4368-b9f1-c6e5f3910d48" providerId="ADAL" clId="{3E51CB64-41DE-4E99-AA61-015D66A9A29C}" dt="2025-09-01T13:36:15.674" v="2431"/>
          <ac:spMkLst>
            <pc:docMk/>
            <pc:sldMk cId="2341847114" sldId="558"/>
            <ac:spMk id="3" creationId="{6D4219D5-4ACA-2500-793E-9221D47D0A3C}"/>
          </ac:spMkLst>
        </pc:spChg>
        <pc:spChg chg="mod">
          <ac:chgData name="Nivedha N A" userId="48795343-f4b0-4368-b9f1-c6e5f3910d48" providerId="ADAL" clId="{3E51CB64-41DE-4E99-AA61-015D66A9A29C}" dt="2025-09-02T03:39:29.862" v="3043" actId="1076"/>
          <ac:spMkLst>
            <pc:docMk/>
            <pc:sldMk cId="2341847114" sldId="558"/>
            <ac:spMk id="6" creationId="{36033B35-304A-9B55-69C9-6BBBAD88EC2A}"/>
          </ac:spMkLst>
        </pc:spChg>
        <pc:spChg chg="mod">
          <ac:chgData name="Nivedha N A" userId="48795343-f4b0-4368-b9f1-c6e5f3910d48" providerId="ADAL" clId="{3E51CB64-41DE-4E99-AA61-015D66A9A29C}" dt="2025-09-02T03:39:24.942" v="3042" actId="1076"/>
          <ac:spMkLst>
            <pc:docMk/>
            <pc:sldMk cId="2341847114" sldId="558"/>
            <ac:spMk id="8" creationId="{7307832E-BE7E-D60F-ACC3-93B208E86D35}"/>
          </ac:spMkLst>
        </pc:spChg>
        <pc:picChg chg="add del mod">
          <ac:chgData name="Nivedha N A" userId="48795343-f4b0-4368-b9f1-c6e5f3910d48" providerId="ADAL" clId="{3E51CB64-41DE-4E99-AA61-015D66A9A29C}" dt="2025-09-02T03:39:13.383" v="3031" actId="21"/>
          <ac:picMkLst>
            <pc:docMk/>
            <pc:sldMk cId="2341847114" sldId="558"/>
            <ac:picMk id="9" creationId="{A4A5E42C-1677-FFA3-9377-56A0D58A0CC8}"/>
          </ac:picMkLst>
        </pc:picChg>
      </pc:sldChg>
      <pc:sldChg chg="addSp delSp modSp add mod">
        <pc:chgData name="Nivedha N A" userId="48795343-f4b0-4368-b9f1-c6e5f3910d48" providerId="ADAL" clId="{3E51CB64-41DE-4E99-AA61-015D66A9A29C}" dt="2025-09-02T13:37:52.944" v="3518"/>
        <pc:sldMkLst>
          <pc:docMk/>
          <pc:sldMk cId="392851940" sldId="559"/>
        </pc:sldMkLst>
        <pc:spChg chg="mod">
          <ac:chgData name="Nivedha N A" userId="48795343-f4b0-4368-b9f1-c6e5f3910d48" providerId="ADAL" clId="{3E51CB64-41DE-4E99-AA61-015D66A9A29C}" dt="2025-09-01T13:36:20.491" v="2432"/>
          <ac:spMkLst>
            <pc:docMk/>
            <pc:sldMk cId="392851940" sldId="559"/>
            <ac:spMk id="3" creationId="{CBF92B60-CE3F-A351-3E5E-24D5AE40CE50}"/>
          </ac:spMkLst>
        </pc:spChg>
        <pc:spChg chg="mod">
          <ac:chgData name="Nivedha N A" userId="48795343-f4b0-4368-b9f1-c6e5f3910d48" providerId="ADAL" clId="{3E51CB64-41DE-4E99-AA61-015D66A9A29C}" dt="2025-09-02T05:18:25.446" v="3336" actId="1076"/>
          <ac:spMkLst>
            <pc:docMk/>
            <pc:sldMk cId="392851940" sldId="559"/>
            <ac:spMk id="6" creationId="{2BB6C697-FDFC-1F41-6DBF-152C952B6A9D}"/>
          </ac:spMkLst>
        </pc:spChg>
        <pc:spChg chg="mod">
          <ac:chgData name="Nivedha N A" userId="48795343-f4b0-4368-b9f1-c6e5f3910d48" providerId="ADAL" clId="{3E51CB64-41DE-4E99-AA61-015D66A9A29C}" dt="2025-09-02T13:37:52.944" v="3518"/>
          <ac:spMkLst>
            <pc:docMk/>
            <pc:sldMk cId="392851940" sldId="559"/>
            <ac:spMk id="8" creationId="{53C22927-4502-A519-B613-E1AAB035F2F4}"/>
          </ac:spMkLst>
        </pc:spChg>
        <pc:picChg chg="add del mod">
          <ac:chgData name="Nivedha N A" userId="48795343-f4b0-4368-b9f1-c6e5f3910d48" providerId="ADAL" clId="{3E51CB64-41DE-4E99-AA61-015D66A9A29C}" dt="2025-09-02T05:18:09.992" v="3325" actId="21"/>
          <ac:picMkLst>
            <pc:docMk/>
            <pc:sldMk cId="392851940" sldId="559"/>
            <ac:picMk id="9" creationId="{FE5BA530-85C0-BAA2-B089-DDFBA5E7B377}"/>
          </ac:picMkLst>
        </pc:picChg>
      </pc:sldChg>
      <pc:sldChg chg="addSp delSp modSp add mod">
        <pc:chgData name="Nivedha N A" userId="48795343-f4b0-4368-b9f1-c6e5f3910d48" providerId="ADAL" clId="{3E51CB64-41DE-4E99-AA61-015D66A9A29C}" dt="2025-09-01T16:25:26.503" v="2764" actId="1076"/>
        <pc:sldMkLst>
          <pc:docMk/>
          <pc:sldMk cId="2005893529" sldId="560"/>
        </pc:sldMkLst>
        <pc:spChg chg="mod">
          <ac:chgData name="Nivedha N A" userId="48795343-f4b0-4368-b9f1-c6e5f3910d48" providerId="ADAL" clId="{3E51CB64-41DE-4E99-AA61-015D66A9A29C}" dt="2025-09-01T13:36:30.419" v="2433"/>
          <ac:spMkLst>
            <pc:docMk/>
            <pc:sldMk cId="2005893529" sldId="560"/>
            <ac:spMk id="3" creationId="{5D6D13F7-B0DD-0A3F-9A83-A40E1662CF5F}"/>
          </ac:spMkLst>
        </pc:spChg>
        <pc:spChg chg="mod">
          <ac:chgData name="Nivedha N A" userId="48795343-f4b0-4368-b9f1-c6e5f3910d48" providerId="ADAL" clId="{3E51CB64-41DE-4E99-AA61-015D66A9A29C}" dt="2025-09-01T12:13:27.466" v="1014"/>
          <ac:spMkLst>
            <pc:docMk/>
            <pc:sldMk cId="2005893529" sldId="560"/>
            <ac:spMk id="5" creationId="{24EFFEAC-43FB-2C0B-F818-92F0BB61A19D}"/>
          </ac:spMkLst>
        </pc:spChg>
        <pc:spChg chg="mod">
          <ac:chgData name="Nivedha N A" userId="48795343-f4b0-4368-b9f1-c6e5f3910d48" providerId="ADAL" clId="{3E51CB64-41DE-4E99-AA61-015D66A9A29C}" dt="2025-09-01T16:01:49.735" v="2712" actId="20577"/>
          <ac:spMkLst>
            <pc:docMk/>
            <pc:sldMk cId="2005893529" sldId="560"/>
            <ac:spMk id="6" creationId="{C94AAAD1-85D6-7983-840F-59E00D4747C2}"/>
          </ac:spMkLst>
        </pc:spChg>
        <pc:spChg chg="add">
          <ac:chgData name="Nivedha N A" userId="48795343-f4b0-4368-b9f1-c6e5f3910d48" providerId="ADAL" clId="{3E51CB64-41DE-4E99-AA61-015D66A9A29C}" dt="2025-09-01T12:13:51.249" v="1016"/>
          <ac:spMkLst>
            <pc:docMk/>
            <pc:sldMk cId="2005893529" sldId="560"/>
            <ac:spMk id="7" creationId="{8EFC20E7-CD00-A00E-A1D0-C5B280D6B23D}"/>
          </ac:spMkLst>
        </pc:spChg>
        <pc:spChg chg="mod">
          <ac:chgData name="Nivedha N A" userId="48795343-f4b0-4368-b9f1-c6e5f3910d48" providerId="ADAL" clId="{3E51CB64-41DE-4E99-AA61-015D66A9A29C}" dt="2025-09-01T16:16:16.207" v="2749" actId="14100"/>
          <ac:spMkLst>
            <pc:docMk/>
            <pc:sldMk cId="2005893529" sldId="560"/>
            <ac:spMk id="8" creationId="{357C7668-AA72-FDED-2FE3-6AFB8C54CB85}"/>
          </ac:spMkLst>
        </pc:spChg>
        <pc:spChg chg="add">
          <ac:chgData name="Nivedha N A" userId="48795343-f4b0-4368-b9f1-c6e5f3910d48" providerId="ADAL" clId="{3E51CB64-41DE-4E99-AA61-015D66A9A29C}" dt="2025-09-01T12:14:12.241" v="1019"/>
          <ac:spMkLst>
            <pc:docMk/>
            <pc:sldMk cId="2005893529" sldId="560"/>
            <ac:spMk id="9" creationId="{91D4F447-9FE0-B963-0968-7C66C4C3C802}"/>
          </ac:spMkLst>
        </pc:spChg>
        <pc:spChg chg="add">
          <ac:chgData name="Nivedha N A" userId="48795343-f4b0-4368-b9f1-c6e5f3910d48" providerId="ADAL" clId="{3E51CB64-41DE-4E99-AA61-015D66A9A29C}" dt="2025-09-01T12:14:15.599" v="1020"/>
          <ac:spMkLst>
            <pc:docMk/>
            <pc:sldMk cId="2005893529" sldId="560"/>
            <ac:spMk id="10" creationId="{7F494702-0297-8ABA-C45B-C03F151FCD61}"/>
          </ac:spMkLst>
        </pc:spChg>
        <pc:spChg chg="add">
          <ac:chgData name="Nivedha N A" userId="48795343-f4b0-4368-b9f1-c6e5f3910d48" providerId="ADAL" clId="{3E51CB64-41DE-4E99-AA61-015D66A9A29C}" dt="2025-09-01T12:14:26.946" v="1021"/>
          <ac:spMkLst>
            <pc:docMk/>
            <pc:sldMk cId="2005893529" sldId="560"/>
            <ac:spMk id="11" creationId="{4732FD79-7F1B-08E9-A466-E87C37A1C5E6}"/>
          </ac:spMkLst>
        </pc:spChg>
        <pc:spChg chg="add del">
          <ac:chgData name="Nivedha N A" userId="48795343-f4b0-4368-b9f1-c6e5f3910d48" providerId="ADAL" clId="{3E51CB64-41DE-4E99-AA61-015D66A9A29C}" dt="2025-09-01T12:15:35.930" v="1235" actId="22"/>
          <ac:spMkLst>
            <pc:docMk/>
            <pc:sldMk cId="2005893529" sldId="560"/>
            <ac:spMk id="13" creationId="{68DC0312-7FD0-A415-E23E-7C94FAC1103A}"/>
          </ac:spMkLst>
        </pc:spChg>
        <pc:spChg chg="add mod">
          <ac:chgData name="Nivedha N A" userId="48795343-f4b0-4368-b9f1-c6e5f3910d48" providerId="ADAL" clId="{3E51CB64-41DE-4E99-AA61-015D66A9A29C}" dt="2025-09-01T16:25:26.503" v="2764" actId="1076"/>
          <ac:spMkLst>
            <pc:docMk/>
            <pc:sldMk cId="2005893529" sldId="560"/>
            <ac:spMk id="14" creationId="{A50D75F6-A1F9-C5D2-EB66-32E633374B68}"/>
          </ac:spMkLst>
        </pc:spChg>
        <pc:spChg chg="add del mod">
          <ac:chgData name="Nivedha N A" userId="48795343-f4b0-4368-b9f1-c6e5f3910d48" providerId="ADAL" clId="{3E51CB64-41DE-4E99-AA61-015D66A9A29C}" dt="2025-09-01T16:14:05.045" v="2723" actId="21"/>
          <ac:spMkLst>
            <pc:docMk/>
            <pc:sldMk cId="2005893529" sldId="560"/>
            <ac:spMk id="15" creationId="{5775A228-5F2E-17B9-0099-D7B93F6C444E}"/>
          </ac:spMkLst>
        </pc:spChg>
        <pc:spChg chg="add del mod">
          <ac:chgData name="Nivedha N A" userId="48795343-f4b0-4368-b9f1-c6e5f3910d48" providerId="ADAL" clId="{3E51CB64-41DE-4E99-AA61-015D66A9A29C}" dt="2025-09-01T16:14:10.444" v="2724" actId="21"/>
          <ac:spMkLst>
            <pc:docMk/>
            <pc:sldMk cId="2005893529" sldId="560"/>
            <ac:spMk id="16" creationId="{E3891161-52A2-C842-A9A5-2C3EC236CF54}"/>
          </ac:spMkLst>
        </pc:spChg>
        <pc:spChg chg="add mod">
          <ac:chgData name="Nivedha N A" userId="48795343-f4b0-4368-b9f1-c6e5f3910d48" providerId="ADAL" clId="{3E51CB64-41DE-4E99-AA61-015D66A9A29C}" dt="2025-09-01T16:17:05.613" v="2753" actId="20577"/>
          <ac:spMkLst>
            <pc:docMk/>
            <pc:sldMk cId="2005893529" sldId="560"/>
            <ac:spMk id="17" creationId="{B5D6CACE-FEA3-F33D-6AA1-E99F1BCC5EF1}"/>
          </ac:spMkLst>
        </pc:spChg>
        <pc:spChg chg="add mod">
          <ac:chgData name="Nivedha N A" userId="48795343-f4b0-4368-b9f1-c6e5f3910d48" providerId="ADAL" clId="{3E51CB64-41DE-4E99-AA61-015D66A9A29C}" dt="2025-09-01T15:53:58.330" v="2646" actId="14100"/>
          <ac:spMkLst>
            <pc:docMk/>
            <pc:sldMk cId="2005893529" sldId="560"/>
            <ac:spMk id="18" creationId="{D1233E5A-6B7A-AF9A-4192-42773FFBB65E}"/>
          </ac:spMkLst>
        </pc:spChg>
        <pc:picChg chg="add mod">
          <ac:chgData name="Nivedha N A" userId="48795343-f4b0-4368-b9f1-c6e5f3910d48" providerId="ADAL" clId="{3E51CB64-41DE-4E99-AA61-015D66A9A29C}" dt="2025-09-01T16:01:21.190" v="2708" actId="1076"/>
          <ac:picMkLst>
            <pc:docMk/>
            <pc:sldMk cId="2005893529" sldId="560"/>
            <ac:picMk id="3080" creationId="{34019E49-C474-8F33-21E5-85DE57290507}"/>
          </ac:picMkLst>
        </pc:picChg>
        <pc:picChg chg="add del mod">
          <ac:chgData name="Nivedha N A" userId="48795343-f4b0-4368-b9f1-c6e5f3910d48" providerId="ADAL" clId="{3E51CB64-41DE-4E99-AA61-015D66A9A29C}" dt="2025-09-01T15:57:01.717" v="2689" actId="21"/>
          <ac:picMkLst>
            <pc:docMk/>
            <pc:sldMk cId="2005893529" sldId="560"/>
            <ac:picMk id="3082" creationId="{1C1C1739-1901-9845-5E56-8CDAB4D42B2B}"/>
          </ac:picMkLst>
        </pc:picChg>
        <pc:picChg chg="add del">
          <ac:chgData name="Nivedha N A" userId="48795343-f4b0-4368-b9f1-c6e5f3910d48" providerId="ADAL" clId="{3E51CB64-41DE-4E99-AA61-015D66A9A29C}" dt="2025-09-01T15:58:12.064" v="2691" actId="21"/>
          <ac:picMkLst>
            <pc:docMk/>
            <pc:sldMk cId="2005893529" sldId="560"/>
            <ac:picMk id="3084" creationId="{28A088BA-0A63-6748-E0EF-D67B6AE4C695}"/>
          </ac:picMkLst>
        </pc:picChg>
        <pc:picChg chg="add mod">
          <ac:chgData name="Nivedha N A" userId="48795343-f4b0-4368-b9f1-c6e5f3910d48" providerId="ADAL" clId="{3E51CB64-41DE-4E99-AA61-015D66A9A29C}" dt="2025-09-01T15:59:20.050" v="2700" actId="14100"/>
          <ac:picMkLst>
            <pc:docMk/>
            <pc:sldMk cId="2005893529" sldId="560"/>
            <ac:picMk id="3086" creationId="{A7CA63AD-1EE1-4376-678B-98470C54D9FB}"/>
          </ac:picMkLst>
        </pc:picChg>
        <pc:picChg chg="add mod">
          <ac:chgData name="Nivedha N A" userId="48795343-f4b0-4368-b9f1-c6e5f3910d48" providerId="ADAL" clId="{3E51CB64-41DE-4E99-AA61-015D66A9A29C}" dt="2025-09-01T16:01:29.867" v="2709" actId="14100"/>
          <ac:picMkLst>
            <pc:docMk/>
            <pc:sldMk cId="2005893529" sldId="560"/>
            <ac:picMk id="3088" creationId="{7C0F1331-D379-4DB9-63D0-BD7F7B5D9988}"/>
          </ac:picMkLst>
        </pc:picChg>
        <pc:picChg chg="add del mod">
          <ac:chgData name="Nivedha N A" userId="48795343-f4b0-4368-b9f1-c6e5f3910d48" providerId="ADAL" clId="{3E51CB64-41DE-4E99-AA61-015D66A9A29C}" dt="2025-09-01T16:22:41.077" v="2754" actId="21"/>
          <ac:picMkLst>
            <pc:docMk/>
            <pc:sldMk cId="2005893529" sldId="560"/>
            <ac:picMk id="3090" creationId="{A0A0EA53-7DAB-E3D2-21DC-46071F76477F}"/>
          </ac:picMkLst>
        </pc:picChg>
        <pc:picChg chg="add mod">
          <ac:chgData name="Nivedha N A" userId="48795343-f4b0-4368-b9f1-c6e5f3910d48" providerId="ADAL" clId="{3E51CB64-41DE-4E99-AA61-015D66A9A29C}" dt="2025-09-01T16:23:43.783" v="2763" actId="14100"/>
          <ac:picMkLst>
            <pc:docMk/>
            <pc:sldMk cId="2005893529" sldId="560"/>
            <ac:picMk id="3092" creationId="{3CF74EAC-7769-1942-2489-4E4064CE53DF}"/>
          </ac:picMkLst>
        </pc:picChg>
      </pc:sldChg>
      <pc:sldChg chg="addSp delSp modSp add mod">
        <pc:chgData name="Nivedha N A" userId="48795343-f4b0-4368-b9f1-c6e5f3910d48" providerId="ADAL" clId="{3E51CB64-41DE-4E99-AA61-015D66A9A29C}" dt="2025-09-01T16:13:49.809" v="2722"/>
        <pc:sldMkLst>
          <pc:docMk/>
          <pc:sldMk cId="936466097" sldId="561"/>
        </pc:sldMkLst>
        <pc:spChg chg="mod">
          <ac:chgData name="Nivedha N A" userId="48795343-f4b0-4368-b9f1-c6e5f3910d48" providerId="ADAL" clId="{3E51CB64-41DE-4E99-AA61-015D66A9A29C}" dt="2025-09-01T13:36:37.843" v="2434"/>
          <ac:spMkLst>
            <pc:docMk/>
            <pc:sldMk cId="936466097" sldId="561"/>
            <ac:spMk id="3" creationId="{6739A735-BC7F-BC4E-D84F-5C5114189CEA}"/>
          </ac:spMkLst>
        </pc:spChg>
        <pc:spChg chg="del mod">
          <ac:chgData name="Nivedha N A" userId="48795343-f4b0-4368-b9f1-c6e5f3910d48" providerId="ADAL" clId="{3E51CB64-41DE-4E99-AA61-015D66A9A29C}" dt="2025-09-01T12:22:55.991" v="1544" actId="21"/>
          <ac:spMkLst>
            <pc:docMk/>
            <pc:sldMk cId="936466097" sldId="561"/>
            <ac:spMk id="6" creationId="{1B176F57-8B22-AB4A-3EB6-714CEDE3B801}"/>
          </ac:spMkLst>
        </pc:spChg>
        <pc:spChg chg="del">
          <ac:chgData name="Nivedha N A" userId="48795343-f4b0-4368-b9f1-c6e5f3910d48" providerId="ADAL" clId="{3E51CB64-41DE-4E99-AA61-015D66A9A29C}" dt="2025-09-01T12:23:11.233" v="1546" actId="21"/>
          <ac:spMkLst>
            <pc:docMk/>
            <pc:sldMk cId="936466097" sldId="561"/>
            <ac:spMk id="8" creationId="{0ADD6B44-2052-2C76-B7F7-50CF49C36DA7}"/>
          </ac:spMkLst>
        </pc:spChg>
        <pc:spChg chg="add del mod">
          <ac:chgData name="Nivedha N A" userId="48795343-f4b0-4368-b9f1-c6e5f3910d48" providerId="ADAL" clId="{3E51CB64-41DE-4E99-AA61-015D66A9A29C}" dt="2025-09-01T12:23:07.338" v="1545" actId="21"/>
          <ac:spMkLst>
            <pc:docMk/>
            <pc:sldMk cId="936466097" sldId="561"/>
            <ac:spMk id="9" creationId="{C4755131-A583-00AE-DC87-C7FFB7C0337B}"/>
          </ac:spMkLst>
        </pc:spChg>
        <pc:spChg chg="add del mod">
          <ac:chgData name="Nivedha N A" userId="48795343-f4b0-4368-b9f1-c6e5f3910d48" providerId="ADAL" clId="{3E51CB64-41DE-4E99-AA61-015D66A9A29C}" dt="2025-09-01T12:23:18.935" v="1547" actId="21"/>
          <ac:spMkLst>
            <pc:docMk/>
            <pc:sldMk cId="936466097" sldId="561"/>
            <ac:spMk id="11" creationId="{49DEA18F-F42F-F902-33A7-8CA47EDBD945}"/>
          </ac:spMkLst>
        </pc:spChg>
        <pc:spChg chg="del">
          <ac:chgData name="Nivedha N A" userId="48795343-f4b0-4368-b9f1-c6e5f3910d48" providerId="ADAL" clId="{3E51CB64-41DE-4E99-AA61-015D66A9A29C}" dt="2025-09-01T12:23:33.060" v="1549" actId="21"/>
          <ac:spMkLst>
            <pc:docMk/>
            <pc:sldMk cId="936466097" sldId="561"/>
            <ac:spMk id="14" creationId="{F8FFDD78-AFEE-DBA7-F0C0-952952E4F220}"/>
          </ac:spMkLst>
        </pc:spChg>
        <pc:spChg chg="mod">
          <ac:chgData name="Nivedha N A" userId="48795343-f4b0-4368-b9f1-c6e5f3910d48" providerId="ADAL" clId="{3E51CB64-41DE-4E99-AA61-015D66A9A29C}" dt="2025-09-01T12:23:51.563" v="1552" actId="20577"/>
          <ac:spMkLst>
            <pc:docMk/>
            <pc:sldMk cId="936466097" sldId="561"/>
            <ac:spMk id="15" creationId="{F89C7623-D0ED-6B8B-9C1D-39F4E36E8A6C}"/>
          </ac:spMkLst>
        </pc:spChg>
        <pc:spChg chg="del">
          <ac:chgData name="Nivedha N A" userId="48795343-f4b0-4368-b9f1-c6e5f3910d48" providerId="ADAL" clId="{3E51CB64-41DE-4E99-AA61-015D66A9A29C}" dt="2025-09-01T12:23:41.299" v="1550" actId="21"/>
          <ac:spMkLst>
            <pc:docMk/>
            <pc:sldMk cId="936466097" sldId="561"/>
            <ac:spMk id="16" creationId="{519EFFF7-0411-BC11-2F5C-70EFADA366E6}"/>
          </ac:spMkLst>
        </pc:spChg>
        <pc:spChg chg="del">
          <ac:chgData name="Nivedha N A" userId="48795343-f4b0-4368-b9f1-c6e5f3910d48" providerId="ADAL" clId="{3E51CB64-41DE-4E99-AA61-015D66A9A29C}" dt="2025-09-01T12:23:29.415" v="1548" actId="21"/>
          <ac:spMkLst>
            <pc:docMk/>
            <pc:sldMk cId="936466097" sldId="561"/>
            <ac:spMk id="17" creationId="{9D2A5A95-9137-5503-4625-654B93CBFF90}"/>
          </ac:spMkLst>
        </pc:spChg>
        <pc:spChg chg="add mod">
          <ac:chgData name="Nivedha N A" userId="48795343-f4b0-4368-b9f1-c6e5f3910d48" providerId="ADAL" clId="{3E51CB64-41DE-4E99-AA61-015D66A9A29C}" dt="2025-09-01T16:13:27.013" v="2721"/>
          <ac:spMkLst>
            <pc:docMk/>
            <pc:sldMk cId="936466097" sldId="561"/>
            <ac:spMk id="18" creationId="{1EF0E18C-3BE3-52FD-D83E-C6F182C5FDFA}"/>
          </ac:spMkLst>
        </pc:spChg>
        <pc:spChg chg="add mod">
          <ac:chgData name="Nivedha N A" userId="48795343-f4b0-4368-b9f1-c6e5f3910d48" providerId="ADAL" clId="{3E51CB64-41DE-4E99-AA61-015D66A9A29C}" dt="2025-09-01T16:13:49.809" v="2722"/>
          <ac:spMkLst>
            <pc:docMk/>
            <pc:sldMk cId="936466097" sldId="561"/>
            <ac:spMk id="19" creationId="{1A30D743-B4A6-D96B-54C2-7B7CC11E23FC}"/>
          </ac:spMkLst>
        </pc:spChg>
        <pc:picChg chg="add mod">
          <ac:chgData name="Nivedha N A" userId="48795343-f4b0-4368-b9f1-c6e5f3910d48" providerId="ADAL" clId="{3E51CB64-41DE-4E99-AA61-015D66A9A29C}" dt="2025-09-01T16:12:57.478" v="2719" actId="14100"/>
          <ac:picMkLst>
            <pc:docMk/>
            <pc:sldMk cId="936466097" sldId="561"/>
            <ac:picMk id="13" creationId="{003124DD-6AA0-532B-9CC7-4F7A0EA76337}"/>
          </ac:picMkLst>
        </pc:picChg>
      </pc:sldChg>
      <pc:sldChg chg="addSp delSp modSp add del mod">
        <pc:chgData name="Nivedha N A" userId="48795343-f4b0-4368-b9f1-c6e5f3910d48" providerId="ADAL" clId="{3E51CB64-41DE-4E99-AA61-015D66A9A29C}" dt="2025-09-01T12:35:38.564" v="1761" actId="2696"/>
        <pc:sldMkLst>
          <pc:docMk/>
          <pc:sldMk cId="782349031" sldId="562"/>
        </pc:sldMkLst>
        <pc:spChg chg="mod">
          <ac:chgData name="Nivedha N A" userId="48795343-f4b0-4368-b9f1-c6e5f3910d48" providerId="ADAL" clId="{3E51CB64-41DE-4E99-AA61-015D66A9A29C}" dt="2025-09-01T12:29:35.046" v="1565"/>
          <ac:spMkLst>
            <pc:docMk/>
            <pc:sldMk cId="782349031" sldId="562"/>
            <ac:spMk id="5" creationId="{7F7873F6-7E7B-5E8E-E524-6968269F8E06}"/>
          </ac:spMkLst>
        </pc:spChg>
        <pc:spChg chg="add del mod">
          <ac:chgData name="Nivedha N A" userId="48795343-f4b0-4368-b9f1-c6e5f3910d48" providerId="ADAL" clId="{3E51CB64-41DE-4E99-AA61-015D66A9A29C}" dt="2025-09-01T12:32:36.280" v="1747"/>
          <ac:spMkLst>
            <pc:docMk/>
            <pc:sldMk cId="782349031" sldId="562"/>
            <ac:spMk id="6" creationId="{7AFA4B7D-1B76-1C92-56DF-287B985F10C3}"/>
          </ac:spMkLst>
        </pc:spChg>
        <pc:spChg chg="add mod">
          <ac:chgData name="Nivedha N A" userId="48795343-f4b0-4368-b9f1-c6e5f3910d48" providerId="ADAL" clId="{3E51CB64-41DE-4E99-AA61-015D66A9A29C}" dt="2025-09-01T12:34:53.676" v="1759"/>
          <ac:spMkLst>
            <pc:docMk/>
            <pc:sldMk cId="782349031" sldId="562"/>
            <ac:spMk id="7" creationId="{B15762A8-0139-D00B-D08D-3BA5BAF20311}"/>
          </ac:spMkLst>
        </pc:spChg>
        <pc:spChg chg="del mod">
          <ac:chgData name="Nivedha N A" userId="48795343-f4b0-4368-b9f1-c6e5f3910d48" providerId="ADAL" clId="{3E51CB64-41DE-4E99-AA61-015D66A9A29C}" dt="2025-09-01T12:35:00.082" v="1760" actId="21"/>
          <ac:spMkLst>
            <pc:docMk/>
            <pc:sldMk cId="782349031" sldId="562"/>
            <ac:spMk id="8" creationId="{A04C6E3F-6287-898D-3A40-B74DCC39708F}"/>
          </ac:spMkLst>
        </pc:spChg>
        <pc:spChg chg="add mod">
          <ac:chgData name="Nivedha N A" userId="48795343-f4b0-4368-b9f1-c6e5f3910d48" providerId="ADAL" clId="{3E51CB64-41DE-4E99-AA61-015D66A9A29C}" dt="2025-09-01T12:35:00.082" v="1760" actId="21"/>
          <ac:spMkLst>
            <pc:docMk/>
            <pc:sldMk cId="782349031" sldId="562"/>
            <ac:spMk id="10" creationId="{C4C3C74D-4407-9FA7-B8FE-A79E4480DEA5}"/>
          </ac:spMkLst>
        </pc:spChg>
      </pc:sldChg>
      <pc:sldChg chg="addSp delSp modSp add mod">
        <pc:chgData name="Nivedha N A" userId="48795343-f4b0-4368-b9f1-c6e5f3910d48" providerId="ADAL" clId="{3E51CB64-41DE-4E99-AA61-015D66A9A29C}" dt="2025-09-02T03:16:50.463" v="2938" actId="1076"/>
        <pc:sldMkLst>
          <pc:docMk/>
          <pc:sldMk cId="1261867268" sldId="562"/>
        </pc:sldMkLst>
        <pc:spChg chg="mod">
          <ac:chgData name="Nivedha N A" userId="48795343-f4b0-4368-b9f1-c6e5f3910d48" providerId="ADAL" clId="{3E51CB64-41DE-4E99-AA61-015D66A9A29C}" dt="2025-09-01T12:51:17.897" v="2268" actId="20577"/>
          <ac:spMkLst>
            <pc:docMk/>
            <pc:sldMk cId="1261867268" sldId="562"/>
            <ac:spMk id="2" creationId="{30B707F3-6196-EB39-B9ED-1D3524A0D68E}"/>
          </ac:spMkLst>
        </pc:spChg>
        <pc:spChg chg="mod">
          <ac:chgData name="Nivedha N A" userId="48795343-f4b0-4368-b9f1-c6e5f3910d48" providerId="ADAL" clId="{3E51CB64-41DE-4E99-AA61-015D66A9A29C}" dt="2025-09-01T13:36:58.489" v="2438"/>
          <ac:spMkLst>
            <pc:docMk/>
            <pc:sldMk cId="1261867268" sldId="562"/>
            <ac:spMk id="3" creationId="{C43A7C92-91F2-5AE5-B96D-8AE32B7AFB40}"/>
          </ac:spMkLst>
        </pc:spChg>
        <pc:spChg chg="del">
          <ac:chgData name="Nivedha N A" userId="48795343-f4b0-4368-b9f1-c6e5f3910d48" providerId="ADAL" clId="{3E51CB64-41DE-4E99-AA61-015D66A9A29C}" dt="2025-09-01T12:54:12.926" v="2321" actId="21"/>
          <ac:spMkLst>
            <pc:docMk/>
            <pc:sldMk cId="1261867268" sldId="562"/>
            <ac:spMk id="5" creationId="{CCF93789-0F13-438D-E193-052C2D15A114}"/>
          </ac:spMkLst>
        </pc:spChg>
        <pc:spChg chg="add del mod">
          <ac:chgData name="Nivedha N A" userId="48795343-f4b0-4368-b9f1-c6e5f3910d48" providerId="ADAL" clId="{3E51CB64-41DE-4E99-AA61-015D66A9A29C}" dt="2025-09-02T03:16:50.463" v="2938" actId="1076"/>
          <ac:spMkLst>
            <pc:docMk/>
            <pc:sldMk cId="1261867268" sldId="562"/>
            <ac:spMk id="6" creationId="{8AAD3E2C-A803-6A46-085E-BE34B5687CBD}"/>
          </ac:spMkLst>
        </pc:spChg>
        <pc:spChg chg="add del mod">
          <ac:chgData name="Nivedha N A" userId="48795343-f4b0-4368-b9f1-c6e5f3910d48" providerId="ADAL" clId="{3E51CB64-41DE-4E99-AA61-015D66A9A29C}" dt="2025-09-01T12:54:21.043" v="2322" actId="21"/>
          <ac:spMkLst>
            <pc:docMk/>
            <pc:sldMk cId="1261867268" sldId="562"/>
            <ac:spMk id="8" creationId="{C3D87AFC-61D6-B604-F96E-5BAC59E8BE68}"/>
          </ac:spMkLst>
        </pc:spChg>
        <pc:spChg chg="add mod">
          <ac:chgData name="Nivedha N A" userId="48795343-f4b0-4368-b9f1-c6e5f3910d48" providerId="ADAL" clId="{3E51CB64-41DE-4E99-AA61-015D66A9A29C}" dt="2025-09-01T13:29:02.585" v="2359" actId="478"/>
          <ac:spMkLst>
            <pc:docMk/>
            <pc:sldMk cId="1261867268" sldId="562"/>
            <ac:spMk id="9" creationId="{F3181ABD-9B94-72BF-132D-BCC440BB9D00}"/>
          </ac:spMkLst>
        </pc:spChg>
        <pc:spChg chg="add mod">
          <ac:chgData name="Nivedha N A" userId="48795343-f4b0-4368-b9f1-c6e5f3910d48" providerId="ADAL" clId="{3E51CB64-41DE-4E99-AA61-015D66A9A29C}" dt="2025-09-01T13:30:00.572" v="2368" actId="14100"/>
          <ac:spMkLst>
            <pc:docMk/>
            <pc:sldMk cId="1261867268" sldId="562"/>
            <ac:spMk id="10" creationId="{8C459260-035B-99C1-88F0-CE844B7C1C85}"/>
          </ac:spMkLst>
        </pc:spChg>
        <pc:picChg chg="add del mod">
          <ac:chgData name="Nivedha N A" userId="48795343-f4b0-4368-b9f1-c6e5f3910d48" providerId="ADAL" clId="{3E51CB64-41DE-4E99-AA61-015D66A9A29C}" dt="2025-09-01T14:20:49.224" v="2457" actId="21"/>
          <ac:picMkLst>
            <pc:docMk/>
            <pc:sldMk cId="1261867268" sldId="562"/>
            <ac:picMk id="11" creationId="{CE4CFD82-D323-A121-821E-7344FDA888B2}"/>
          </ac:picMkLst>
        </pc:picChg>
        <pc:picChg chg="add del mod">
          <ac:chgData name="Nivedha N A" userId="48795343-f4b0-4368-b9f1-c6e5f3910d48" providerId="ADAL" clId="{3E51CB64-41DE-4E99-AA61-015D66A9A29C}" dt="2025-09-01T14:28:40.937" v="2482" actId="21"/>
          <ac:picMkLst>
            <pc:docMk/>
            <pc:sldMk cId="1261867268" sldId="562"/>
            <ac:picMk id="13" creationId="{AC31EABE-27FE-FCCA-00A8-D28A70F167DA}"/>
          </ac:picMkLst>
        </pc:picChg>
        <pc:picChg chg="add del mod">
          <ac:chgData name="Nivedha N A" userId="48795343-f4b0-4368-b9f1-c6e5f3910d48" providerId="ADAL" clId="{3E51CB64-41DE-4E99-AA61-015D66A9A29C}" dt="2025-09-01T14:26:24.602" v="2474" actId="21"/>
          <ac:picMkLst>
            <pc:docMk/>
            <pc:sldMk cId="1261867268" sldId="562"/>
            <ac:picMk id="15" creationId="{DFCA87B9-A25E-E04C-0194-002E3FEF92C7}"/>
          </ac:picMkLst>
        </pc:picChg>
        <pc:picChg chg="add del mod">
          <ac:chgData name="Nivedha N A" userId="48795343-f4b0-4368-b9f1-c6e5f3910d48" providerId="ADAL" clId="{3E51CB64-41DE-4E99-AA61-015D66A9A29C}" dt="2025-09-01T13:29:06.303" v="2362" actId="14100"/>
          <ac:picMkLst>
            <pc:docMk/>
            <pc:sldMk cId="1261867268" sldId="562"/>
            <ac:picMk id="5122" creationId="{AD024EFD-EE37-3A01-3A18-4813809EE4D7}"/>
          </ac:picMkLst>
        </pc:picChg>
        <pc:picChg chg="add del mod">
          <ac:chgData name="Nivedha N A" userId="48795343-f4b0-4368-b9f1-c6e5f3910d48" providerId="ADAL" clId="{3E51CB64-41DE-4E99-AA61-015D66A9A29C}" dt="2025-09-02T03:16:37.465" v="2935" actId="21"/>
          <ac:picMkLst>
            <pc:docMk/>
            <pc:sldMk cId="1261867268" sldId="562"/>
            <ac:picMk id="5124" creationId="{AA84D521-A7AE-987C-AB36-5F4D08A773AB}"/>
          </ac:picMkLst>
        </pc:picChg>
        <pc:picChg chg="add del mod">
          <ac:chgData name="Nivedha N A" userId="48795343-f4b0-4368-b9f1-c6e5f3910d48" providerId="ADAL" clId="{3E51CB64-41DE-4E99-AA61-015D66A9A29C}" dt="2025-09-02T03:16:43.442" v="2937" actId="21"/>
          <ac:picMkLst>
            <pc:docMk/>
            <pc:sldMk cId="1261867268" sldId="562"/>
            <ac:picMk id="5126" creationId="{E76F6A6C-C088-C5CE-40CF-5BAE3CA7639C}"/>
          </ac:picMkLst>
        </pc:picChg>
        <pc:picChg chg="add del mod">
          <ac:chgData name="Nivedha N A" userId="48795343-f4b0-4368-b9f1-c6e5f3910d48" providerId="ADAL" clId="{3E51CB64-41DE-4E99-AA61-015D66A9A29C}" dt="2025-09-02T03:16:40.516" v="2936" actId="21"/>
          <ac:picMkLst>
            <pc:docMk/>
            <pc:sldMk cId="1261867268" sldId="562"/>
            <ac:picMk id="5128" creationId="{EAA36356-FC1E-061A-EAC3-D60387DDE8F5}"/>
          </ac:picMkLst>
        </pc:picChg>
      </pc:sldChg>
      <pc:sldChg chg="new del">
        <pc:chgData name="Nivedha N A" userId="48795343-f4b0-4368-b9f1-c6e5f3910d48" providerId="ADAL" clId="{3E51CB64-41DE-4E99-AA61-015D66A9A29C}" dt="2025-09-02T13:54:58.366" v="3526" actId="2696"/>
        <pc:sldMkLst>
          <pc:docMk/>
          <pc:sldMk cId="466951201" sldId="563"/>
        </pc:sldMkLst>
      </pc:sldChg>
      <pc:sldChg chg="addSp delSp modSp add mod">
        <pc:chgData name="Nivedha N A" userId="48795343-f4b0-4368-b9f1-c6e5f3910d48" providerId="ADAL" clId="{3E51CB64-41DE-4E99-AA61-015D66A9A29C}" dt="2025-09-02T03:29:18.768" v="3003" actId="20577"/>
        <pc:sldMkLst>
          <pc:docMk/>
          <pc:sldMk cId="3649489225" sldId="564"/>
        </pc:sldMkLst>
        <pc:spChg chg="mod">
          <ac:chgData name="Nivedha N A" userId="48795343-f4b0-4368-b9f1-c6e5f3910d48" providerId="ADAL" clId="{3E51CB64-41DE-4E99-AA61-015D66A9A29C}" dt="2025-09-01T13:31:50.586" v="2374"/>
          <ac:spMkLst>
            <pc:docMk/>
            <pc:sldMk cId="3649489225" sldId="564"/>
            <ac:spMk id="2" creationId="{9F6D37B4-AF0E-46F6-FCE2-48C37E0C6FE1}"/>
          </ac:spMkLst>
        </pc:spChg>
        <pc:spChg chg="mod">
          <ac:chgData name="Nivedha N A" userId="48795343-f4b0-4368-b9f1-c6e5f3910d48" providerId="ADAL" clId="{3E51CB64-41DE-4E99-AA61-015D66A9A29C}" dt="2025-09-01T13:38:44.385" v="2451"/>
          <ac:spMkLst>
            <pc:docMk/>
            <pc:sldMk cId="3649489225" sldId="564"/>
            <ac:spMk id="3" creationId="{E7162FED-278D-D633-F102-0CF26F04F46F}"/>
          </ac:spMkLst>
        </pc:spChg>
        <pc:spChg chg="add">
          <ac:chgData name="Nivedha N A" userId="48795343-f4b0-4368-b9f1-c6e5f3910d48" providerId="ADAL" clId="{3E51CB64-41DE-4E99-AA61-015D66A9A29C}" dt="2025-09-01T13:34:01.236" v="2425"/>
          <ac:spMkLst>
            <pc:docMk/>
            <pc:sldMk cId="3649489225" sldId="564"/>
            <ac:spMk id="5" creationId="{E27CB04A-1A87-5F62-3621-D14CCDBBC25C}"/>
          </ac:spMkLst>
        </pc:spChg>
        <pc:spChg chg="mod">
          <ac:chgData name="Nivedha N A" userId="48795343-f4b0-4368-b9f1-c6e5f3910d48" providerId="ADAL" clId="{3E51CB64-41DE-4E99-AA61-015D66A9A29C}" dt="2025-09-02T03:29:18.768" v="3003" actId="20577"/>
          <ac:spMkLst>
            <pc:docMk/>
            <pc:sldMk cId="3649489225" sldId="564"/>
            <ac:spMk id="6" creationId="{1B4D34F3-526F-CE6C-6351-F4D230C09F4E}"/>
          </ac:spMkLst>
        </pc:spChg>
        <pc:spChg chg="add del mod">
          <ac:chgData name="Nivedha N A" userId="48795343-f4b0-4368-b9f1-c6e5f3910d48" providerId="ADAL" clId="{3E51CB64-41DE-4E99-AA61-015D66A9A29C}" dt="2025-09-01T13:38:29.185" v="2450" actId="21"/>
          <ac:spMkLst>
            <pc:docMk/>
            <pc:sldMk cId="3649489225" sldId="564"/>
            <ac:spMk id="7" creationId="{4FFB78FF-6C04-3495-4922-0C44F44A34EB}"/>
          </ac:spMkLst>
        </pc:spChg>
        <pc:spChg chg="del mod">
          <ac:chgData name="Nivedha N A" userId="48795343-f4b0-4368-b9f1-c6e5f3910d48" providerId="ADAL" clId="{3E51CB64-41DE-4E99-AA61-015D66A9A29C}" dt="2025-09-01T13:38:15.545" v="2448" actId="21"/>
          <ac:spMkLst>
            <pc:docMk/>
            <pc:sldMk cId="3649489225" sldId="564"/>
            <ac:spMk id="10" creationId="{4FFB78FF-6C04-3495-4922-0C44F44A34EB}"/>
          </ac:spMkLst>
        </pc:spChg>
        <pc:picChg chg="del">
          <ac:chgData name="Nivedha N A" userId="48795343-f4b0-4368-b9f1-c6e5f3910d48" providerId="ADAL" clId="{3E51CB64-41DE-4E99-AA61-015D66A9A29C}" dt="2025-09-01T13:33:08.228" v="2390" actId="21"/>
          <ac:picMkLst>
            <pc:docMk/>
            <pc:sldMk cId="3649489225" sldId="564"/>
            <ac:picMk id="5124" creationId="{872C586E-C098-38FA-F8F6-1D771BB99946}"/>
          </ac:picMkLst>
        </pc:picChg>
        <pc:picChg chg="add del mod">
          <ac:chgData name="Nivedha N A" userId="48795343-f4b0-4368-b9f1-c6e5f3910d48" providerId="ADAL" clId="{3E51CB64-41DE-4E99-AA61-015D66A9A29C}" dt="2025-09-02T03:00:16.383" v="2769" actId="21"/>
          <ac:picMkLst>
            <pc:docMk/>
            <pc:sldMk cId="3649489225" sldId="564"/>
            <ac:picMk id="6147" creationId="{1C1D694F-2AD2-462C-8083-2DAC98D1DF4A}"/>
          </ac:picMkLst>
        </pc:picChg>
      </pc:sldChg>
      <pc:sldChg chg="addSp delSp modSp add mod modClrScheme chgLayout">
        <pc:chgData name="Nivedha N A" userId="48795343-f4b0-4368-b9f1-c6e5f3910d48" providerId="ADAL" clId="{3E51CB64-41DE-4E99-AA61-015D66A9A29C}" dt="2025-09-02T03:17:17.675" v="2939" actId="26606"/>
        <pc:sldMkLst>
          <pc:docMk/>
          <pc:sldMk cId="4230274081" sldId="565"/>
        </pc:sldMkLst>
        <pc:spChg chg="mod ord">
          <ac:chgData name="Nivedha N A" userId="48795343-f4b0-4368-b9f1-c6e5f3910d48" providerId="ADAL" clId="{3E51CB64-41DE-4E99-AA61-015D66A9A29C}" dt="2025-09-02T03:17:17.675" v="2939" actId="26606"/>
          <ac:spMkLst>
            <pc:docMk/>
            <pc:sldMk cId="4230274081" sldId="565"/>
            <ac:spMk id="2" creationId="{A580F983-32C0-B831-D666-5755E99601FF}"/>
          </ac:spMkLst>
        </pc:spChg>
        <pc:spChg chg="mod">
          <ac:chgData name="Nivedha N A" userId="48795343-f4b0-4368-b9f1-c6e5f3910d48" providerId="ADAL" clId="{3E51CB64-41DE-4E99-AA61-015D66A9A29C}" dt="2025-09-02T03:17:17.675" v="2939" actId="26606"/>
          <ac:spMkLst>
            <pc:docMk/>
            <pc:sldMk cId="4230274081" sldId="565"/>
            <ac:spMk id="3" creationId="{C1EEEB23-8A34-2B7E-8FF9-106EDA09C0EE}"/>
          </ac:spMkLst>
        </pc:spChg>
        <pc:spChg chg="mod">
          <ac:chgData name="Nivedha N A" userId="48795343-f4b0-4368-b9f1-c6e5f3910d48" providerId="ADAL" clId="{3E51CB64-41DE-4E99-AA61-015D66A9A29C}" dt="2025-09-02T03:17:17.675" v="2939" actId="26606"/>
          <ac:spMkLst>
            <pc:docMk/>
            <pc:sldMk cId="4230274081" sldId="565"/>
            <ac:spMk id="4" creationId="{0CD51055-CB13-C37A-1E8D-64D36011E50A}"/>
          </ac:spMkLst>
        </pc:spChg>
        <pc:spChg chg="del">
          <ac:chgData name="Nivedha N A" userId="48795343-f4b0-4368-b9f1-c6e5f3910d48" providerId="ADAL" clId="{3E51CB64-41DE-4E99-AA61-015D66A9A29C}" dt="2025-09-02T03:00:46.916" v="2771" actId="21"/>
          <ac:spMkLst>
            <pc:docMk/>
            <pc:sldMk cId="4230274081" sldId="565"/>
            <ac:spMk id="6" creationId="{AD49051D-3EBA-9050-81EE-4349B84B31EF}"/>
          </ac:spMkLst>
        </pc:spChg>
        <pc:spChg chg="add del mod">
          <ac:chgData name="Nivedha N A" userId="48795343-f4b0-4368-b9f1-c6e5f3910d48" providerId="ADAL" clId="{3E51CB64-41DE-4E99-AA61-015D66A9A29C}" dt="2025-09-02T03:01:05.521" v="2774" actId="26606"/>
          <ac:spMkLst>
            <pc:docMk/>
            <pc:sldMk cId="4230274081" sldId="565"/>
            <ac:spMk id="7" creationId="{0A86A615-F955-7A0C-7BB5-2C4D5CBA3ED2}"/>
          </ac:spMkLst>
        </pc:spChg>
        <pc:picChg chg="add mod">
          <ac:chgData name="Nivedha N A" userId="48795343-f4b0-4368-b9f1-c6e5f3910d48" providerId="ADAL" clId="{3E51CB64-41DE-4E99-AA61-015D66A9A29C}" dt="2025-09-02T03:17:17.675" v="2939" actId="26606"/>
          <ac:picMkLst>
            <pc:docMk/>
            <pc:sldMk cId="4230274081" sldId="565"/>
            <ac:picMk id="8194" creationId="{98DB2711-DB48-8963-7A3F-4DF9FAC9628A}"/>
          </ac:picMkLst>
        </pc:picChg>
      </pc:sldChg>
      <pc:sldChg chg="addSp delSp modSp add mod modClrScheme chgLayout">
        <pc:chgData name="Nivedha N A" userId="48795343-f4b0-4368-b9f1-c6e5f3910d48" providerId="ADAL" clId="{3E51CB64-41DE-4E99-AA61-015D66A9A29C}" dt="2025-09-02T12:19:33.010" v="3481" actId="14100"/>
        <pc:sldMkLst>
          <pc:docMk/>
          <pc:sldMk cId="1746813339" sldId="566"/>
        </pc:sldMkLst>
        <pc:spChg chg="mod ord">
          <ac:chgData name="Nivedha N A" userId="48795343-f4b0-4368-b9f1-c6e5f3910d48" providerId="ADAL" clId="{3E51CB64-41DE-4E99-AA61-015D66A9A29C}" dt="2025-09-02T03:18:09.063" v="2940" actId="26606"/>
          <ac:spMkLst>
            <pc:docMk/>
            <pc:sldMk cId="1746813339" sldId="566"/>
            <ac:spMk id="2" creationId="{40AD5F32-B918-473A-D1D2-584FBE2FC3C5}"/>
          </ac:spMkLst>
        </pc:spChg>
        <pc:spChg chg="mod">
          <ac:chgData name="Nivedha N A" userId="48795343-f4b0-4368-b9f1-c6e5f3910d48" providerId="ADAL" clId="{3E51CB64-41DE-4E99-AA61-015D66A9A29C}" dt="2025-09-02T03:18:09.063" v="2940" actId="26606"/>
          <ac:spMkLst>
            <pc:docMk/>
            <pc:sldMk cId="1746813339" sldId="566"/>
            <ac:spMk id="3" creationId="{04FBF6E3-0EA4-553F-7B52-56AC215FB13E}"/>
          </ac:spMkLst>
        </pc:spChg>
        <pc:spChg chg="mod">
          <ac:chgData name="Nivedha N A" userId="48795343-f4b0-4368-b9f1-c6e5f3910d48" providerId="ADAL" clId="{3E51CB64-41DE-4E99-AA61-015D66A9A29C}" dt="2025-09-02T03:18:09.063" v="2940" actId="26606"/>
          <ac:spMkLst>
            <pc:docMk/>
            <pc:sldMk cId="1746813339" sldId="566"/>
            <ac:spMk id="4" creationId="{BA64A9BC-0E30-4764-9E37-13BE9046AF59}"/>
          </ac:spMkLst>
        </pc:spChg>
        <pc:picChg chg="add mod">
          <ac:chgData name="Nivedha N A" userId="48795343-f4b0-4368-b9f1-c6e5f3910d48" providerId="ADAL" clId="{3E51CB64-41DE-4E99-AA61-015D66A9A29C}" dt="2025-09-02T12:19:33.010" v="3481" actId="14100"/>
          <ac:picMkLst>
            <pc:docMk/>
            <pc:sldMk cId="1746813339" sldId="566"/>
            <ac:picMk id="6" creationId="{00D784FB-97BB-0C31-F6B3-780689449BD1}"/>
          </ac:picMkLst>
        </pc:picChg>
        <pc:picChg chg="del">
          <ac:chgData name="Nivedha N A" userId="48795343-f4b0-4368-b9f1-c6e5f3910d48" providerId="ADAL" clId="{3E51CB64-41DE-4E99-AA61-015D66A9A29C}" dt="2025-09-02T03:08:09.724" v="2776" actId="21"/>
          <ac:picMkLst>
            <pc:docMk/>
            <pc:sldMk cId="1746813339" sldId="566"/>
            <ac:picMk id="8194" creationId="{F5E7D743-973C-B148-8F3B-F226E69BBBDA}"/>
          </ac:picMkLst>
        </pc:picChg>
        <pc:picChg chg="add del mod">
          <ac:chgData name="Nivedha N A" userId="48795343-f4b0-4368-b9f1-c6e5f3910d48" providerId="ADAL" clId="{3E51CB64-41DE-4E99-AA61-015D66A9A29C}" dt="2025-09-02T12:19:20.399" v="3477" actId="21"/>
          <ac:picMkLst>
            <pc:docMk/>
            <pc:sldMk cId="1746813339" sldId="566"/>
            <ac:picMk id="9218" creationId="{B2E63112-0ED3-A0E3-0655-0BDF1AA73F53}"/>
          </ac:picMkLst>
        </pc:picChg>
      </pc:sldChg>
      <pc:sldChg chg="addSp delSp modSp add mod modClrScheme chgLayout">
        <pc:chgData name="Nivedha N A" userId="48795343-f4b0-4368-b9f1-c6e5f3910d48" providerId="ADAL" clId="{3E51CB64-41DE-4E99-AA61-015D66A9A29C}" dt="2025-09-02T03:16:25.832" v="2934" actId="14100"/>
        <pc:sldMkLst>
          <pc:docMk/>
          <pc:sldMk cId="1825012440" sldId="567"/>
        </pc:sldMkLst>
        <pc:spChg chg="mod ord">
          <ac:chgData name="Nivedha N A" userId="48795343-f4b0-4368-b9f1-c6e5f3910d48" providerId="ADAL" clId="{3E51CB64-41DE-4E99-AA61-015D66A9A29C}" dt="2025-09-02T03:16:12.481" v="2931" actId="26606"/>
          <ac:spMkLst>
            <pc:docMk/>
            <pc:sldMk cId="1825012440" sldId="567"/>
            <ac:spMk id="2" creationId="{3462E56D-F9B5-BC04-C764-2814FAB38C9A}"/>
          </ac:spMkLst>
        </pc:spChg>
        <pc:spChg chg="mod">
          <ac:chgData name="Nivedha N A" userId="48795343-f4b0-4368-b9f1-c6e5f3910d48" providerId="ADAL" clId="{3E51CB64-41DE-4E99-AA61-015D66A9A29C}" dt="2025-09-02T03:16:12.481" v="2931" actId="26606"/>
          <ac:spMkLst>
            <pc:docMk/>
            <pc:sldMk cId="1825012440" sldId="567"/>
            <ac:spMk id="3" creationId="{4FC2060A-D8F3-DEEF-1CEF-E5AFD55A8C80}"/>
          </ac:spMkLst>
        </pc:spChg>
        <pc:spChg chg="mod">
          <ac:chgData name="Nivedha N A" userId="48795343-f4b0-4368-b9f1-c6e5f3910d48" providerId="ADAL" clId="{3E51CB64-41DE-4E99-AA61-015D66A9A29C}" dt="2025-09-02T03:16:12.481" v="2931" actId="26606"/>
          <ac:spMkLst>
            <pc:docMk/>
            <pc:sldMk cId="1825012440" sldId="567"/>
            <ac:spMk id="4" creationId="{7CAD7A2D-F2CF-15DD-2D79-254CD41AC335}"/>
          </ac:spMkLst>
        </pc:spChg>
        <pc:spChg chg="del">
          <ac:chgData name="Nivedha N A" userId="48795343-f4b0-4368-b9f1-c6e5f3910d48" providerId="ADAL" clId="{3E51CB64-41DE-4E99-AA61-015D66A9A29C}" dt="2025-09-02T03:09:14.249" v="2780" actId="21"/>
          <ac:spMkLst>
            <pc:docMk/>
            <pc:sldMk cId="1825012440" sldId="567"/>
            <ac:spMk id="6" creationId="{38AE4EDE-149A-BDA4-38C9-5A4D9C62877E}"/>
          </ac:spMkLst>
        </pc:spChg>
        <pc:spChg chg="add del mod">
          <ac:chgData name="Nivedha N A" userId="48795343-f4b0-4368-b9f1-c6e5f3910d48" providerId="ADAL" clId="{3E51CB64-41DE-4E99-AA61-015D66A9A29C}" dt="2025-09-02T03:09:52.102" v="2784" actId="26606"/>
          <ac:spMkLst>
            <pc:docMk/>
            <pc:sldMk cId="1825012440" sldId="567"/>
            <ac:spMk id="7" creationId="{3F31DD51-653D-334D-2964-0B3DA2F9ED16}"/>
          </ac:spMkLst>
        </pc:spChg>
        <pc:spChg chg="ord">
          <ac:chgData name="Nivedha N A" userId="48795343-f4b0-4368-b9f1-c6e5f3910d48" providerId="ADAL" clId="{3E51CB64-41DE-4E99-AA61-015D66A9A29C}" dt="2025-09-02T03:09:52.102" v="2784" actId="26606"/>
          <ac:spMkLst>
            <pc:docMk/>
            <pc:sldMk cId="1825012440" sldId="567"/>
            <ac:spMk id="10" creationId="{E4D8E35A-1236-FD4F-D369-3A23C73AFCC0}"/>
          </ac:spMkLst>
        </pc:spChg>
        <pc:picChg chg="mod">
          <ac:chgData name="Nivedha N A" userId="48795343-f4b0-4368-b9f1-c6e5f3910d48" providerId="ADAL" clId="{3E51CB64-41DE-4E99-AA61-015D66A9A29C}" dt="2025-09-02T03:16:25.832" v="2934" actId="14100"/>
          <ac:picMkLst>
            <pc:docMk/>
            <pc:sldMk cId="1825012440" sldId="567"/>
            <ac:picMk id="5124" creationId="{11BEAD29-AB20-6767-8719-8300FF2AAF0E}"/>
          </ac:picMkLst>
        </pc:picChg>
        <pc:picChg chg="del">
          <ac:chgData name="Nivedha N A" userId="48795343-f4b0-4368-b9f1-c6e5f3910d48" providerId="ADAL" clId="{3E51CB64-41DE-4E99-AA61-015D66A9A29C}" dt="2025-09-02T03:09:23.137" v="2781" actId="21"/>
          <ac:picMkLst>
            <pc:docMk/>
            <pc:sldMk cId="1825012440" sldId="567"/>
            <ac:picMk id="5126" creationId="{746729A5-D203-33A2-7DC3-676C10496D2B}"/>
          </ac:picMkLst>
        </pc:picChg>
        <pc:picChg chg="del">
          <ac:chgData name="Nivedha N A" userId="48795343-f4b0-4368-b9f1-c6e5f3910d48" providerId="ADAL" clId="{3E51CB64-41DE-4E99-AA61-015D66A9A29C}" dt="2025-09-02T03:09:35.254" v="2782" actId="21"/>
          <ac:picMkLst>
            <pc:docMk/>
            <pc:sldMk cId="1825012440" sldId="567"/>
            <ac:picMk id="5128" creationId="{123ABCAF-BD5A-A5AA-97C2-22B4FFBD1FEA}"/>
          </ac:picMkLst>
        </pc:picChg>
      </pc:sldChg>
      <pc:sldChg chg="addSp delSp modSp add mod modClrScheme chgLayout">
        <pc:chgData name="Nivedha N A" userId="48795343-f4b0-4368-b9f1-c6e5f3910d48" providerId="ADAL" clId="{3E51CB64-41DE-4E99-AA61-015D66A9A29C}" dt="2025-09-02T03:15:52.917" v="2929" actId="14100"/>
        <pc:sldMkLst>
          <pc:docMk/>
          <pc:sldMk cId="2693548094" sldId="568"/>
        </pc:sldMkLst>
        <pc:spChg chg="mod ord">
          <ac:chgData name="Nivedha N A" userId="48795343-f4b0-4368-b9f1-c6e5f3910d48" providerId="ADAL" clId="{3E51CB64-41DE-4E99-AA61-015D66A9A29C}" dt="2025-09-02T03:15:38.663" v="2926" actId="26606"/>
          <ac:spMkLst>
            <pc:docMk/>
            <pc:sldMk cId="2693548094" sldId="568"/>
            <ac:spMk id="2" creationId="{3FC4C995-2DFB-9BCC-4077-9283C3361552}"/>
          </ac:spMkLst>
        </pc:spChg>
        <pc:spChg chg="mod">
          <ac:chgData name="Nivedha N A" userId="48795343-f4b0-4368-b9f1-c6e5f3910d48" providerId="ADAL" clId="{3E51CB64-41DE-4E99-AA61-015D66A9A29C}" dt="2025-09-02T03:15:38.663" v="2926" actId="26606"/>
          <ac:spMkLst>
            <pc:docMk/>
            <pc:sldMk cId="2693548094" sldId="568"/>
            <ac:spMk id="3" creationId="{B1228013-0A37-948E-7AE2-A2F6B90D8C2A}"/>
          </ac:spMkLst>
        </pc:spChg>
        <pc:spChg chg="mod">
          <ac:chgData name="Nivedha N A" userId="48795343-f4b0-4368-b9f1-c6e5f3910d48" providerId="ADAL" clId="{3E51CB64-41DE-4E99-AA61-015D66A9A29C}" dt="2025-09-02T03:15:38.663" v="2926" actId="26606"/>
          <ac:spMkLst>
            <pc:docMk/>
            <pc:sldMk cId="2693548094" sldId="568"/>
            <ac:spMk id="4" creationId="{FF42A8FF-A1E8-9891-E9CB-4EB573704392}"/>
          </ac:spMkLst>
        </pc:spChg>
        <pc:spChg chg="ord">
          <ac:chgData name="Nivedha N A" userId="48795343-f4b0-4368-b9f1-c6e5f3910d48" providerId="ADAL" clId="{3E51CB64-41DE-4E99-AA61-015D66A9A29C}" dt="2025-09-02T03:10:58.225" v="2798" actId="26606"/>
          <ac:spMkLst>
            <pc:docMk/>
            <pc:sldMk cId="2693548094" sldId="568"/>
            <ac:spMk id="10" creationId="{27FBF77E-5846-F176-4BA6-B65CB1491C54}"/>
          </ac:spMkLst>
        </pc:spChg>
        <pc:picChg chg="add mod">
          <ac:chgData name="Nivedha N A" userId="48795343-f4b0-4368-b9f1-c6e5f3910d48" providerId="ADAL" clId="{3E51CB64-41DE-4E99-AA61-015D66A9A29C}" dt="2025-09-02T03:15:52.917" v="2929" actId="14100"/>
          <ac:picMkLst>
            <pc:docMk/>
            <pc:sldMk cId="2693548094" sldId="568"/>
            <ac:picMk id="5" creationId="{C4C14E67-24B5-B477-A0DF-8B9C701C4CEE}"/>
          </ac:picMkLst>
        </pc:picChg>
        <pc:picChg chg="del">
          <ac:chgData name="Nivedha N A" userId="48795343-f4b0-4368-b9f1-c6e5f3910d48" providerId="ADAL" clId="{3E51CB64-41DE-4E99-AA61-015D66A9A29C}" dt="2025-09-02T03:10:36.546" v="2789" actId="21"/>
          <ac:picMkLst>
            <pc:docMk/>
            <pc:sldMk cId="2693548094" sldId="568"/>
            <ac:picMk id="5124" creationId="{8F29B3DC-8B98-1BE3-880D-FAACCB724189}"/>
          </ac:picMkLst>
        </pc:picChg>
      </pc:sldChg>
      <pc:sldChg chg="addSp delSp modSp add mod modClrScheme chgLayout">
        <pc:chgData name="Nivedha N A" userId="48795343-f4b0-4368-b9f1-c6e5f3910d48" providerId="ADAL" clId="{3E51CB64-41DE-4E99-AA61-015D66A9A29C}" dt="2025-09-02T03:16:03.771" v="2930" actId="14100"/>
        <pc:sldMkLst>
          <pc:docMk/>
          <pc:sldMk cId="761109382" sldId="569"/>
        </pc:sldMkLst>
        <pc:spChg chg="mod">
          <ac:chgData name="Nivedha N A" userId="48795343-f4b0-4368-b9f1-c6e5f3910d48" providerId="ADAL" clId="{3E51CB64-41DE-4E99-AA61-015D66A9A29C}" dt="2025-09-02T03:15:08.709" v="2922" actId="26606"/>
          <ac:spMkLst>
            <pc:docMk/>
            <pc:sldMk cId="761109382" sldId="569"/>
            <ac:spMk id="2" creationId="{694E2919-8009-7F1B-7FF4-87A6DF906D49}"/>
          </ac:spMkLst>
        </pc:spChg>
        <pc:spChg chg="mod">
          <ac:chgData name="Nivedha N A" userId="48795343-f4b0-4368-b9f1-c6e5f3910d48" providerId="ADAL" clId="{3E51CB64-41DE-4E99-AA61-015D66A9A29C}" dt="2025-09-02T03:15:08.709" v="2922" actId="26606"/>
          <ac:spMkLst>
            <pc:docMk/>
            <pc:sldMk cId="761109382" sldId="569"/>
            <ac:spMk id="3" creationId="{1ECEB577-A7B4-CDB4-6BE3-6C1E825074D3}"/>
          </ac:spMkLst>
        </pc:spChg>
        <pc:spChg chg="mod">
          <ac:chgData name="Nivedha N A" userId="48795343-f4b0-4368-b9f1-c6e5f3910d48" providerId="ADAL" clId="{3E51CB64-41DE-4E99-AA61-015D66A9A29C}" dt="2025-09-02T03:15:08.709" v="2922" actId="26606"/>
          <ac:spMkLst>
            <pc:docMk/>
            <pc:sldMk cId="761109382" sldId="569"/>
            <ac:spMk id="4" creationId="{FC7AE0B1-756D-099E-9E75-DECB376869CF}"/>
          </ac:spMkLst>
        </pc:spChg>
        <pc:spChg chg="ord">
          <ac:chgData name="Nivedha N A" userId="48795343-f4b0-4368-b9f1-c6e5f3910d48" providerId="ADAL" clId="{3E51CB64-41DE-4E99-AA61-015D66A9A29C}" dt="2025-09-02T03:15:08.709" v="2922" actId="26606"/>
          <ac:spMkLst>
            <pc:docMk/>
            <pc:sldMk cId="761109382" sldId="569"/>
            <ac:spMk id="10" creationId="{7A0207C6-8055-4C02-3546-F425009E4E0C}"/>
          </ac:spMkLst>
        </pc:spChg>
        <pc:picChg chg="del">
          <ac:chgData name="Nivedha N A" userId="48795343-f4b0-4368-b9f1-c6e5f3910d48" providerId="ADAL" clId="{3E51CB64-41DE-4E99-AA61-015D66A9A29C}" dt="2025-09-02T03:11:44.381" v="2807" actId="21"/>
          <ac:picMkLst>
            <pc:docMk/>
            <pc:sldMk cId="761109382" sldId="569"/>
            <ac:picMk id="5" creationId="{711CF9E5-92C6-36A9-E554-B63B4CC3A849}"/>
          </ac:picMkLst>
        </pc:picChg>
        <pc:picChg chg="add del mod">
          <ac:chgData name="Nivedha N A" userId="48795343-f4b0-4368-b9f1-c6e5f3910d48" providerId="ADAL" clId="{3E51CB64-41DE-4E99-AA61-015D66A9A29C}" dt="2025-09-02T03:12:14.225" v="2814" actId="21"/>
          <ac:picMkLst>
            <pc:docMk/>
            <pc:sldMk cId="761109382" sldId="569"/>
            <ac:picMk id="6" creationId="{BCCA1F09-CB00-05C4-7E1C-D33AAF059E59}"/>
          </ac:picMkLst>
        </pc:picChg>
        <pc:picChg chg="add del mod">
          <ac:chgData name="Nivedha N A" userId="48795343-f4b0-4368-b9f1-c6e5f3910d48" providerId="ADAL" clId="{3E51CB64-41DE-4E99-AA61-015D66A9A29C}" dt="2025-09-02T03:13:59.896" v="2918" actId="21"/>
          <ac:picMkLst>
            <pc:docMk/>
            <pc:sldMk cId="761109382" sldId="569"/>
            <ac:picMk id="7" creationId="{BCCA1F09-CB00-05C4-7E1C-D33AAF059E59}"/>
          </ac:picMkLst>
        </pc:picChg>
        <pc:picChg chg="add mod">
          <ac:chgData name="Nivedha N A" userId="48795343-f4b0-4368-b9f1-c6e5f3910d48" providerId="ADAL" clId="{3E51CB64-41DE-4E99-AA61-015D66A9A29C}" dt="2025-09-02T03:16:03.771" v="2930" actId="14100"/>
          <ac:picMkLst>
            <pc:docMk/>
            <pc:sldMk cId="761109382" sldId="569"/>
            <ac:picMk id="8" creationId="{28E8C03E-7778-48C5-C74B-7F11761FBE71}"/>
          </ac:picMkLst>
        </pc:picChg>
      </pc:sldChg>
      <pc:sldChg chg="addSp delSp modSp add mod">
        <pc:chgData name="Nivedha N A" userId="48795343-f4b0-4368-b9f1-c6e5f3910d48" providerId="ADAL" clId="{3E51CB64-41DE-4E99-AA61-015D66A9A29C}" dt="2025-09-02T03:25:52.040" v="2952" actId="14100"/>
        <pc:sldMkLst>
          <pc:docMk/>
          <pc:sldMk cId="3145107186" sldId="570"/>
        </pc:sldMkLst>
        <pc:picChg chg="del">
          <ac:chgData name="Nivedha N A" userId="48795343-f4b0-4368-b9f1-c6e5f3910d48" providerId="ADAL" clId="{3E51CB64-41DE-4E99-AA61-015D66A9A29C}" dt="2025-09-02T03:23:05.557" v="2942" actId="21"/>
          <ac:picMkLst>
            <pc:docMk/>
            <pc:sldMk cId="3145107186" sldId="570"/>
            <ac:picMk id="9218" creationId="{FAF5C3C4-D5BD-FAAC-3DCC-EAEBDE8A8B02}"/>
          </ac:picMkLst>
        </pc:picChg>
        <pc:picChg chg="add mod">
          <ac:chgData name="Nivedha N A" userId="48795343-f4b0-4368-b9f1-c6e5f3910d48" providerId="ADAL" clId="{3E51CB64-41DE-4E99-AA61-015D66A9A29C}" dt="2025-09-02T03:25:52.040" v="2952" actId="14100"/>
          <ac:picMkLst>
            <pc:docMk/>
            <pc:sldMk cId="3145107186" sldId="570"/>
            <ac:picMk id="10242" creationId="{5532B730-7423-4FF8-117C-7FAFEFC0463D}"/>
          </ac:picMkLst>
        </pc:picChg>
      </pc:sldChg>
      <pc:sldChg chg="addSp delSp modSp add del mod">
        <pc:chgData name="Nivedha N A" userId="48795343-f4b0-4368-b9f1-c6e5f3910d48" providerId="ADAL" clId="{3E51CB64-41DE-4E99-AA61-015D66A9A29C}" dt="2025-09-02T04:32:53.031" v="3126" actId="2696"/>
        <pc:sldMkLst>
          <pc:docMk/>
          <pc:sldMk cId="3906127166" sldId="571"/>
        </pc:sldMkLst>
        <pc:spChg chg="mod">
          <ac:chgData name="Nivedha N A" userId="48795343-f4b0-4368-b9f1-c6e5f3910d48" providerId="ADAL" clId="{3E51CB64-41DE-4E99-AA61-015D66A9A29C}" dt="2025-09-02T04:30:32.092" v="3074" actId="20577"/>
          <ac:spMkLst>
            <pc:docMk/>
            <pc:sldMk cId="3906127166" sldId="571"/>
            <ac:spMk id="5" creationId="{91641248-C3DE-5EBE-56F7-C78EC0376824}"/>
          </ac:spMkLst>
        </pc:spChg>
        <pc:spChg chg="del">
          <ac:chgData name="Nivedha N A" userId="48795343-f4b0-4368-b9f1-c6e5f3910d48" providerId="ADAL" clId="{3E51CB64-41DE-4E99-AA61-015D66A9A29C}" dt="2025-09-02T03:37:55.608" v="3022" actId="21"/>
          <ac:spMkLst>
            <pc:docMk/>
            <pc:sldMk cId="3906127166" sldId="571"/>
            <ac:spMk id="6" creationId="{C49D7845-DDA9-3CA3-37D0-CFE019244272}"/>
          </ac:spMkLst>
        </pc:spChg>
        <pc:spChg chg="del">
          <ac:chgData name="Nivedha N A" userId="48795343-f4b0-4368-b9f1-c6e5f3910d48" providerId="ADAL" clId="{3E51CB64-41DE-4E99-AA61-015D66A9A29C}" dt="2025-09-02T03:37:44.278" v="3021" actId="21"/>
          <ac:spMkLst>
            <pc:docMk/>
            <pc:sldMk cId="3906127166" sldId="571"/>
            <ac:spMk id="8" creationId="{864D5EDE-F18F-109A-9C16-B855B5A8249D}"/>
          </ac:spMkLst>
        </pc:spChg>
        <pc:spChg chg="add del mod">
          <ac:chgData name="Nivedha N A" userId="48795343-f4b0-4368-b9f1-c6e5f3910d48" providerId="ADAL" clId="{3E51CB64-41DE-4E99-AA61-015D66A9A29C}" dt="2025-09-02T03:38:23.728" v="3027" actId="21"/>
          <ac:spMkLst>
            <pc:docMk/>
            <pc:sldMk cId="3906127166" sldId="571"/>
            <ac:spMk id="10" creationId="{A31C791D-3309-E13E-53DB-98C8AADCC5FD}"/>
          </ac:spMkLst>
        </pc:spChg>
        <pc:spChg chg="add del mod">
          <ac:chgData name="Nivedha N A" userId="48795343-f4b0-4368-b9f1-c6e5f3910d48" providerId="ADAL" clId="{3E51CB64-41DE-4E99-AA61-015D66A9A29C}" dt="2025-09-02T03:38:06.637" v="3023" actId="21"/>
          <ac:spMkLst>
            <pc:docMk/>
            <pc:sldMk cId="3906127166" sldId="571"/>
            <ac:spMk id="12" creationId="{754E5B85-7810-7E62-F885-20EB6B1A2DF6}"/>
          </ac:spMkLst>
        </pc:spChg>
        <pc:picChg chg="mod">
          <ac:chgData name="Nivedha N A" userId="48795343-f4b0-4368-b9f1-c6e5f3910d48" providerId="ADAL" clId="{3E51CB64-41DE-4E99-AA61-015D66A9A29C}" dt="2025-09-02T03:38:52.193" v="3030" actId="14100"/>
          <ac:picMkLst>
            <pc:docMk/>
            <pc:sldMk cId="3906127166" sldId="571"/>
            <ac:picMk id="9" creationId="{F85FBAD7-6C01-59BB-01C6-E060ACAC64FC}"/>
          </ac:picMkLst>
        </pc:picChg>
      </pc:sldChg>
      <pc:sldChg chg="addSp delSp modSp add del mod">
        <pc:chgData name="Nivedha N A" userId="48795343-f4b0-4368-b9f1-c6e5f3910d48" providerId="ADAL" clId="{3E51CB64-41DE-4E99-AA61-015D66A9A29C}" dt="2025-09-02T04:32:06.174" v="3103" actId="2696"/>
        <pc:sldMkLst>
          <pc:docMk/>
          <pc:sldMk cId="1160093553" sldId="572"/>
        </pc:sldMkLst>
        <pc:spChg chg="mod">
          <ac:chgData name="Nivedha N A" userId="48795343-f4b0-4368-b9f1-c6e5f3910d48" providerId="ADAL" clId="{3E51CB64-41DE-4E99-AA61-015D66A9A29C}" dt="2025-09-02T04:30:24.859" v="3070" actId="20577"/>
          <ac:spMkLst>
            <pc:docMk/>
            <pc:sldMk cId="1160093553" sldId="572"/>
            <ac:spMk id="5" creationId="{371E1817-B029-C9FF-CB39-610AD11A63F9}"/>
          </ac:spMkLst>
        </pc:spChg>
        <pc:spChg chg="del">
          <ac:chgData name="Nivedha N A" userId="48795343-f4b0-4368-b9f1-c6e5f3910d48" providerId="ADAL" clId="{3E51CB64-41DE-4E99-AA61-015D66A9A29C}" dt="2025-09-02T04:30:04.957" v="3047" actId="21"/>
          <ac:spMkLst>
            <pc:docMk/>
            <pc:sldMk cId="1160093553" sldId="572"/>
            <ac:spMk id="6" creationId="{9D86C294-9778-855F-EC2B-54D93EDADD4C}"/>
          </ac:spMkLst>
        </pc:spChg>
        <pc:spChg chg="del">
          <ac:chgData name="Nivedha N A" userId="48795343-f4b0-4368-b9f1-c6e5f3910d48" providerId="ADAL" clId="{3E51CB64-41DE-4E99-AA61-015D66A9A29C}" dt="2025-09-02T04:29:58.467" v="3046" actId="21"/>
          <ac:spMkLst>
            <pc:docMk/>
            <pc:sldMk cId="1160093553" sldId="572"/>
            <ac:spMk id="8" creationId="{833BD6DE-CE52-54D0-1411-27CCC89036B6}"/>
          </ac:spMkLst>
        </pc:spChg>
        <pc:spChg chg="add del mod">
          <ac:chgData name="Nivedha N A" userId="48795343-f4b0-4368-b9f1-c6e5f3910d48" providerId="ADAL" clId="{3E51CB64-41DE-4E99-AA61-015D66A9A29C}" dt="2025-09-02T04:30:13.448" v="3049" actId="21"/>
          <ac:spMkLst>
            <pc:docMk/>
            <pc:sldMk cId="1160093553" sldId="572"/>
            <ac:spMk id="10" creationId="{7927C53B-C518-5CC2-50C3-3D2EC8D6217D}"/>
          </ac:spMkLst>
        </pc:spChg>
        <pc:spChg chg="add del mod">
          <ac:chgData name="Nivedha N A" userId="48795343-f4b0-4368-b9f1-c6e5f3910d48" providerId="ADAL" clId="{3E51CB64-41DE-4E99-AA61-015D66A9A29C}" dt="2025-09-02T04:30:09.990" v="3048" actId="21"/>
          <ac:spMkLst>
            <pc:docMk/>
            <pc:sldMk cId="1160093553" sldId="572"/>
            <ac:spMk id="12" creationId="{74806A2B-AD8A-E150-C55F-B19643A4275C}"/>
          </ac:spMkLst>
        </pc:spChg>
        <pc:picChg chg="del">
          <ac:chgData name="Nivedha N A" userId="48795343-f4b0-4368-b9f1-c6e5f3910d48" providerId="ADAL" clId="{3E51CB64-41DE-4E99-AA61-015D66A9A29C}" dt="2025-09-02T04:29:51.014" v="3045" actId="21"/>
          <ac:picMkLst>
            <pc:docMk/>
            <pc:sldMk cId="1160093553" sldId="572"/>
            <ac:picMk id="9" creationId="{E327B398-E53A-BD39-8DF6-23774665E217}"/>
          </ac:picMkLst>
        </pc:picChg>
        <pc:picChg chg="add mod">
          <ac:chgData name="Nivedha N A" userId="48795343-f4b0-4368-b9f1-c6e5f3910d48" providerId="ADAL" clId="{3E51CB64-41DE-4E99-AA61-015D66A9A29C}" dt="2025-09-02T04:31:09.400" v="3076" actId="1076"/>
          <ac:picMkLst>
            <pc:docMk/>
            <pc:sldMk cId="1160093553" sldId="572"/>
            <ac:picMk id="13314" creationId="{87660CEB-DF7A-2974-5693-D6C0A7A5A90D}"/>
          </ac:picMkLst>
        </pc:picChg>
      </pc:sldChg>
      <pc:sldChg chg="addSp delSp modSp add del mod ord">
        <pc:chgData name="Nivedha N A" userId="48795343-f4b0-4368-b9f1-c6e5f3910d48" providerId="ADAL" clId="{3E51CB64-41DE-4E99-AA61-015D66A9A29C}" dt="2025-09-02T05:18:47.984" v="3338" actId="2696"/>
        <pc:sldMkLst>
          <pc:docMk/>
          <pc:sldMk cId="1651995148" sldId="573"/>
        </pc:sldMkLst>
        <pc:spChg chg="mod">
          <ac:chgData name="Nivedha N A" userId="48795343-f4b0-4368-b9f1-c6e5f3910d48" providerId="ADAL" clId="{3E51CB64-41DE-4E99-AA61-015D66A9A29C}" dt="2025-09-02T04:31:53.628" v="3102" actId="20577"/>
          <ac:spMkLst>
            <pc:docMk/>
            <pc:sldMk cId="1651995148" sldId="573"/>
            <ac:spMk id="2" creationId="{C9AC44B9-4D04-D7CC-D1C9-D32E2A7E4C0B}"/>
          </ac:spMkLst>
        </pc:spChg>
        <pc:picChg chg="add mod">
          <ac:chgData name="Nivedha N A" userId="48795343-f4b0-4368-b9f1-c6e5f3910d48" providerId="ADAL" clId="{3E51CB64-41DE-4E99-AA61-015D66A9A29C}" dt="2025-09-02T04:31:44.065" v="3082" actId="1076"/>
          <ac:picMkLst>
            <pc:docMk/>
            <pc:sldMk cId="1651995148" sldId="573"/>
            <ac:picMk id="5" creationId="{75E0BB64-9B28-F783-A890-3D11867BB86F}"/>
          </ac:picMkLst>
        </pc:picChg>
        <pc:picChg chg="del">
          <ac:chgData name="Nivedha N A" userId="48795343-f4b0-4368-b9f1-c6e5f3910d48" providerId="ADAL" clId="{3E51CB64-41DE-4E99-AA61-015D66A9A29C}" dt="2025-09-02T04:31:40.119" v="3081" actId="21"/>
          <ac:picMkLst>
            <pc:docMk/>
            <pc:sldMk cId="1651995148" sldId="573"/>
            <ac:picMk id="5124" creationId="{07145D9D-D2F7-BCE0-8064-96C36E0C202E}"/>
          </ac:picMkLst>
        </pc:picChg>
      </pc:sldChg>
      <pc:sldChg chg="addSp delSp modSp add mod ord">
        <pc:chgData name="Nivedha N A" userId="48795343-f4b0-4368-b9f1-c6e5f3910d48" providerId="ADAL" clId="{3E51CB64-41DE-4E99-AA61-015D66A9A29C}" dt="2025-09-02T04:32:46.803" v="3125" actId="20577"/>
        <pc:sldMkLst>
          <pc:docMk/>
          <pc:sldMk cId="2259301310" sldId="574"/>
        </pc:sldMkLst>
        <pc:spChg chg="mod">
          <ac:chgData name="Nivedha N A" userId="48795343-f4b0-4368-b9f1-c6e5f3910d48" providerId="ADAL" clId="{3E51CB64-41DE-4E99-AA61-015D66A9A29C}" dt="2025-09-02T04:32:46.803" v="3125" actId="20577"/>
          <ac:spMkLst>
            <pc:docMk/>
            <pc:sldMk cId="2259301310" sldId="574"/>
            <ac:spMk id="2" creationId="{78C8B713-2A28-B5B1-2B62-B165FC1230C9}"/>
          </ac:spMkLst>
        </pc:spChg>
        <pc:picChg chg="del">
          <ac:chgData name="Nivedha N A" userId="48795343-f4b0-4368-b9f1-c6e5f3910d48" providerId="ADAL" clId="{3E51CB64-41DE-4E99-AA61-015D66A9A29C}" dt="2025-09-02T04:32:38.026" v="3109" actId="21"/>
          <ac:picMkLst>
            <pc:docMk/>
            <pc:sldMk cId="2259301310" sldId="574"/>
            <ac:picMk id="5" creationId="{12A438BF-5F6B-95CE-D123-B33F4088F87C}"/>
          </ac:picMkLst>
        </pc:picChg>
        <pc:picChg chg="add mod">
          <ac:chgData name="Nivedha N A" userId="48795343-f4b0-4368-b9f1-c6e5f3910d48" providerId="ADAL" clId="{3E51CB64-41DE-4E99-AA61-015D66A9A29C}" dt="2025-09-02T04:32:40.666" v="3110" actId="1076"/>
          <ac:picMkLst>
            <pc:docMk/>
            <pc:sldMk cId="2259301310" sldId="574"/>
            <ac:picMk id="6" creationId="{8FBC4177-733F-9D43-D438-B0EBB3CDF488}"/>
          </ac:picMkLst>
        </pc:picChg>
      </pc:sldChg>
      <pc:sldChg chg="addSp delSp modSp add mod">
        <pc:chgData name="Nivedha N A" userId="48795343-f4b0-4368-b9f1-c6e5f3910d48" providerId="ADAL" clId="{3E51CB64-41DE-4E99-AA61-015D66A9A29C}" dt="2025-09-02T08:52:00.202" v="3462" actId="962"/>
        <pc:sldMkLst>
          <pc:docMk/>
          <pc:sldMk cId="874496626" sldId="575"/>
        </pc:sldMkLst>
        <pc:spChg chg="mod">
          <ac:chgData name="Nivedha N A" userId="48795343-f4b0-4368-b9f1-c6e5f3910d48" providerId="ADAL" clId="{3E51CB64-41DE-4E99-AA61-015D66A9A29C}" dt="2025-09-02T08:51:31.297" v="3456" actId="20577"/>
          <ac:spMkLst>
            <pc:docMk/>
            <pc:sldMk cId="874496626" sldId="575"/>
            <ac:spMk id="2" creationId="{AD9F0902-B9E8-896B-324C-BE222D374437}"/>
          </ac:spMkLst>
        </pc:spChg>
        <pc:spChg chg="ord">
          <ac:chgData name="Nivedha N A" userId="48795343-f4b0-4368-b9f1-c6e5f3910d48" providerId="ADAL" clId="{3E51CB64-41DE-4E99-AA61-015D66A9A29C}" dt="2025-09-02T08:51:57.412" v="3460" actId="26606"/>
          <ac:spMkLst>
            <pc:docMk/>
            <pc:sldMk cId="874496626" sldId="575"/>
            <ac:spMk id="10" creationId="{AEF40793-6AFD-D608-59F4-86BB92BEFAEA}"/>
          </ac:spMkLst>
        </pc:spChg>
        <pc:picChg chg="add mod">
          <ac:chgData name="Nivedha N A" userId="48795343-f4b0-4368-b9f1-c6e5f3910d48" providerId="ADAL" clId="{3E51CB64-41DE-4E99-AA61-015D66A9A29C}" dt="2025-09-02T08:52:00.202" v="3462" actId="962"/>
          <ac:picMkLst>
            <pc:docMk/>
            <pc:sldMk cId="874496626" sldId="575"/>
            <ac:picMk id="5" creationId="{3AB58E22-D33D-6005-03D9-6C74CAE12253}"/>
          </ac:picMkLst>
        </pc:picChg>
        <pc:picChg chg="del">
          <ac:chgData name="Nivedha N A" userId="48795343-f4b0-4368-b9f1-c6e5f3910d48" providerId="ADAL" clId="{3E51CB64-41DE-4E99-AA61-015D66A9A29C}" dt="2025-09-02T08:51:44.502" v="3458" actId="21"/>
          <ac:picMkLst>
            <pc:docMk/>
            <pc:sldMk cId="874496626" sldId="575"/>
            <ac:picMk id="6" creationId="{814E3CB3-1EFD-8FC5-4F94-B62BEE8130F3}"/>
          </ac:picMkLst>
        </pc:picChg>
      </pc:sldChg>
      <pc:sldChg chg="del">
        <pc:chgData name="Nivedha N A" userId="48795343-f4b0-4368-b9f1-c6e5f3910d48" providerId="ADAL" clId="{3E51CB64-41DE-4E99-AA61-015D66A9A29C}" dt="2025-09-01T10:06:09.732" v="99" actId="2696"/>
        <pc:sldMkLst>
          <pc:docMk/>
          <pc:sldMk cId="3774469157" sldId="615"/>
        </pc:sldMkLst>
      </pc:sldChg>
      <pc:sldChg chg="del">
        <pc:chgData name="Nivedha N A" userId="48795343-f4b0-4368-b9f1-c6e5f3910d48" providerId="ADAL" clId="{3E51CB64-41DE-4E99-AA61-015D66A9A29C}" dt="2025-09-01T10:06:12.140" v="100" actId="2696"/>
        <pc:sldMkLst>
          <pc:docMk/>
          <pc:sldMk cId="2924933890" sldId="616"/>
        </pc:sldMkLst>
      </pc:sldChg>
      <pc:sldMasterChg chg="delSldLayout">
        <pc:chgData name="Nivedha N A" userId="48795343-f4b0-4368-b9f1-c6e5f3910d48" providerId="ADAL" clId="{3E51CB64-41DE-4E99-AA61-015D66A9A29C}" dt="2025-09-02T13:54:55.730" v="3525" actId="2696"/>
        <pc:sldMasterMkLst>
          <pc:docMk/>
          <pc:sldMasterMk cId="901074324" sldId="2147483660"/>
        </pc:sldMasterMkLst>
        <pc:sldLayoutChg chg="del">
          <pc:chgData name="Nivedha N A" userId="48795343-f4b0-4368-b9f1-c6e5f3910d48" providerId="ADAL" clId="{3E51CB64-41DE-4E99-AA61-015D66A9A29C}" dt="2025-09-02T13:54:55.730" v="3525" actId="2696"/>
          <pc:sldLayoutMkLst>
            <pc:docMk/>
            <pc:sldMasterMk cId="901074324" sldId="2147483660"/>
            <pc:sldLayoutMk cId="1061102630" sldId="2147483783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62AD108A-B93D-476C-97D1-532FA7C820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Segoe UI" panose="020B0502040204020203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B310D62-412C-410A-AAA0-4E5D49329FE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174857-E93A-404B-BD8C-92A5C3CF863C}" type="datetimeFigureOut">
              <a:rPr lang="de-DE" smtClean="0">
                <a:latin typeface="Segoe UI" panose="020B0502040204020203" pitchFamily="34" charset="0"/>
              </a:rPr>
              <a:t>01.09.2025</a:t>
            </a:fld>
            <a:endParaRPr lang="de-DE" dirty="0">
              <a:latin typeface="Segoe UI" panose="020B0502040204020203" pitchFamily="34" charset="0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392DAE0-2311-4972-84AD-6A347CDE0EC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Segoe UI" panose="020B0502040204020203" pitchFamily="34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11FF86D-3363-45E1-9048-5290E10CC3B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92B4E8B-BF1F-423A-AB25-E744821B17F8}" type="slidenum">
              <a:rPr lang="de-DE" smtClean="0">
                <a:latin typeface="Segoe UI" panose="020B0502040204020203" pitchFamily="34" charset="0"/>
              </a:rPr>
              <a:t>‹#›</a:t>
            </a:fld>
            <a:endParaRPr lang="de-DE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47093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Segoe UI" panose="020B0502040204020203" pitchFamily="34" charset="0"/>
              </a:defRPr>
            </a:lvl1pPr>
          </a:lstStyle>
          <a:p>
            <a:endParaRPr lang="en-US" noProof="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Segoe UI" panose="020B0502040204020203" pitchFamily="34" charset="0"/>
              </a:defRPr>
            </a:lvl1pPr>
          </a:lstStyle>
          <a:p>
            <a:fld id="{B0D8E98B-53F8-46DC-81BC-9BFFDEE194FB}" type="datetimeFigureOut">
              <a:rPr lang="en-US" noProof="0" smtClean="0"/>
              <a:pPr/>
              <a:t>9/1/2025</a:t>
            </a:fld>
            <a:endParaRPr lang="en-US" noProof="0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7388" y="630237"/>
            <a:ext cx="5483225" cy="3086100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txBody>
          <a:bodyPr vert="horz" lIns="91440" tIns="45720" rIns="91440" bIns="45720" rtlCol="0" anchor="ctr"/>
          <a:lstStyle/>
          <a:p>
            <a:endParaRPr lang="en-US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3887785"/>
            <a:ext cx="5486400" cy="4625977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/>
              <a:t>First level, Segoe UI, 12p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Segoe UI" panose="020B0502040204020203" pitchFamily="34" charset="0"/>
              </a:defRPr>
            </a:lvl1pPr>
          </a:lstStyle>
          <a:p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Segoe UI" panose="020B0502040204020203" pitchFamily="34" charset="0"/>
              </a:defRPr>
            </a:lvl1pPr>
          </a:lstStyle>
          <a:p>
            <a:fld id="{7CBF4CD1-0CF9-4B7D-A16D-4B6EB45F6A4C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41078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62000" indent="-162000" algn="l" defTabSz="914400" rtl="0" eaLnBrk="1" latinLnBrk="0" hangingPunct="1">
      <a:buClr>
        <a:schemeClr val="accent1"/>
      </a:buClr>
      <a:buSzPct val="100000"/>
      <a:buFont typeface="Wingdings" panose="05000000000000000000" pitchFamily="2" charset="2"/>
      <a:buChar char="§"/>
      <a:defRPr sz="12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1pPr>
    <a:lvl2pPr marL="522000" indent="-162000" algn="l" defTabSz="914400" rtl="0" eaLnBrk="1" latinLnBrk="0" hangingPunct="1">
      <a:buClr>
        <a:schemeClr val="accent1"/>
      </a:buClr>
      <a:buSzPct val="100000"/>
      <a:buFont typeface="GT Flexa Rg" pitchFamily="2" charset="0"/>
      <a:buChar char="–"/>
      <a:defRPr sz="12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2pPr>
    <a:lvl3pPr marL="990000" indent="-162000" algn="l" defTabSz="914400" rtl="0" eaLnBrk="1" latinLnBrk="0" hangingPunct="1">
      <a:buClr>
        <a:schemeClr val="accent1"/>
      </a:buClr>
      <a:buSzPct val="100000"/>
      <a:buFont typeface="GT Flexa Rg" pitchFamily="2" charset="0"/>
      <a:buChar char="–"/>
      <a:defRPr sz="12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3pPr>
    <a:lvl4pPr marL="1458000" indent="-162000" algn="l" defTabSz="914400" rtl="0" eaLnBrk="1" latinLnBrk="0" hangingPunct="1">
      <a:buClr>
        <a:schemeClr val="accent1"/>
      </a:buClr>
      <a:buSzPct val="100000"/>
      <a:buFont typeface="GT Flexa Rg" pitchFamily="2" charset="0"/>
      <a:buChar char="–"/>
      <a:defRPr sz="12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4pPr>
    <a:lvl5pPr marL="1926000" indent="-162000" algn="l" defTabSz="914400" rtl="0" eaLnBrk="1" latinLnBrk="0" hangingPunct="1">
      <a:buClr>
        <a:schemeClr val="accent1"/>
      </a:buClr>
      <a:buSzPct val="100000"/>
      <a:buFont typeface="GT Flexa Rg" pitchFamily="2" charset="0"/>
      <a:buChar char="–"/>
      <a:defRPr sz="12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001103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984740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984740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B8325D-5232-CBBC-AEEF-9CAC5EC32F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51F5E65D-82BF-B3EE-F0CD-327CAC7C90F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75B27B12-0ACD-B3BE-04E6-76A60208CB7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1C3187D-6206-84CB-9F1D-07976BD4AD1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31905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D371D0-F093-2EB0-67C2-4278D8F174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9747E159-4C2F-8DE5-0428-DFE058561C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B8ABB3E3-B685-61F7-6685-BE71DC3FF50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AEEEB39-E893-14D3-2BA9-D1B90C271AD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15048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163A0A-E763-2F09-4649-FFF558B108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06F4BC65-F908-5A37-8291-D35AE6D2567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75960BF7-926A-9011-5B41-CCA8FF5C912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C000C63-F403-BD1F-27D8-88EB56545BE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269056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D8850B-A562-D8B2-CEA4-3847D50A0C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851CEE87-4B9F-1381-95F0-A0A5994F7E8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38B58230-692A-7827-ACFA-0D9A813F1B8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3897188-0ECC-56ED-9DC1-BA1A88F61B2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234852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279012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2.xml"/><Relationship Id="rId4" Type="http://schemas.openxmlformats.org/officeDocument/2006/relationships/image" Target="../media/image1.emf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3.xml"/><Relationship Id="rId4" Type="http://schemas.openxmlformats.org/officeDocument/2006/relationships/image" Target="../media/image1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4.xml"/><Relationship Id="rId4" Type="http://schemas.openxmlformats.org/officeDocument/2006/relationships/image" Target="../media/image1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5.xml"/><Relationship Id="rId4" Type="http://schemas.openxmlformats.org/officeDocument/2006/relationships/image" Target="../media/image1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6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3.xml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4.xml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5.xml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6.xml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7.xml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8.xml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9.xml"/><Relationship Id="rId4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0.xml"/><Relationship Id="rId4" Type="http://schemas.openxmlformats.org/officeDocument/2006/relationships/image" Target="../media/image1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1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2.xml"/><Relationship Id="rId4" Type="http://schemas.openxmlformats.org/officeDocument/2006/relationships/image" Target="../media/image1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3.xml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4.xml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5.xml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6.xml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7.xml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8.xml"/><Relationship Id="rId4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9.xml"/><Relationship Id="rId4" Type="http://schemas.openxmlformats.org/officeDocument/2006/relationships/image" Target="../media/image1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0.xml"/><Relationship Id="rId4" Type="http://schemas.openxmlformats.org/officeDocument/2006/relationships/image" Target="../media/image1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1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2.xml"/><Relationship Id="rId4" Type="http://schemas.openxmlformats.org/officeDocument/2006/relationships/image" Target="../media/image1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3.xml"/><Relationship Id="rId4" Type="http://schemas.openxmlformats.org/officeDocument/2006/relationships/image" Target="../media/image1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4.xml"/><Relationship Id="rId4" Type="http://schemas.openxmlformats.org/officeDocument/2006/relationships/image" Target="../media/image1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5.xml"/><Relationship Id="rId4" Type="http://schemas.openxmlformats.org/officeDocument/2006/relationships/image" Target="../media/image1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6.xml"/><Relationship Id="rId4" Type="http://schemas.openxmlformats.org/officeDocument/2006/relationships/image" Target="../media/image1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7.xml"/><Relationship Id="rId4" Type="http://schemas.openxmlformats.org/officeDocument/2006/relationships/image" Target="../media/image1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8.xml"/><Relationship Id="rId4" Type="http://schemas.openxmlformats.org/officeDocument/2006/relationships/image" Target="../media/image1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9.xml"/><Relationship Id="rId4" Type="http://schemas.openxmlformats.org/officeDocument/2006/relationships/image" Target="../media/image1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0.xml"/><Relationship Id="rId4" Type="http://schemas.openxmlformats.org/officeDocument/2006/relationships/image" Target="../media/image1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1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2.xml"/><Relationship Id="rId4" Type="http://schemas.openxmlformats.org/officeDocument/2006/relationships/image" Target="../media/image1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3.xml"/><Relationship Id="rId4" Type="http://schemas.openxmlformats.org/officeDocument/2006/relationships/image" Target="../media/image1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4.xml"/><Relationship Id="rId4" Type="http://schemas.openxmlformats.org/officeDocument/2006/relationships/image" Target="../media/image1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5.xml"/><Relationship Id="rId4" Type="http://schemas.openxmlformats.org/officeDocument/2006/relationships/image" Target="../media/image1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6.xml"/><Relationship Id="rId4" Type="http://schemas.openxmlformats.org/officeDocument/2006/relationships/image" Target="../media/image1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7.xml"/><Relationship Id="rId4" Type="http://schemas.openxmlformats.org/officeDocument/2006/relationships/image" Target="../media/image1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8.xml"/><Relationship Id="rId4" Type="http://schemas.openxmlformats.org/officeDocument/2006/relationships/image" Target="../media/image1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9.xml"/><Relationship Id="rId4" Type="http://schemas.openxmlformats.org/officeDocument/2006/relationships/image" Target="../media/image1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0.xml"/><Relationship Id="rId4" Type="http://schemas.openxmlformats.org/officeDocument/2006/relationships/image" Target="../media/image1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1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2.xml"/><Relationship Id="rId4" Type="http://schemas.openxmlformats.org/officeDocument/2006/relationships/image" Target="../media/image1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3.xml"/><Relationship Id="rId4" Type="http://schemas.openxmlformats.org/officeDocument/2006/relationships/image" Target="../media/image1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4.xml"/><Relationship Id="rId4" Type="http://schemas.openxmlformats.org/officeDocument/2006/relationships/image" Target="../media/image1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5.xml"/><Relationship Id="rId4" Type="http://schemas.openxmlformats.org/officeDocument/2006/relationships/image" Target="../media/image1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6.xml"/><Relationship Id="rId4" Type="http://schemas.openxmlformats.org/officeDocument/2006/relationships/image" Target="../media/image1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7.xml"/><Relationship Id="rId4" Type="http://schemas.openxmlformats.org/officeDocument/2006/relationships/image" Target="../media/image1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8.xml"/><Relationship Id="rId4" Type="http://schemas.openxmlformats.org/officeDocument/2006/relationships/image" Target="../media/image1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9.xml"/><Relationship Id="rId4" Type="http://schemas.openxmlformats.org/officeDocument/2006/relationships/image" Target="../media/image1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0.xml"/><Relationship Id="rId4" Type="http://schemas.openxmlformats.org/officeDocument/2006/relationships/image" Target="../media/image1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out picture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6752D80-65D7-41FB-9C4B-3947D0C436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0796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6752D80-65D7-41FB-9C4B-3947D0C436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89F91883-D766-4AAC-90B7-69A91534ED46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 algn="l"/>
            <a:endParaRPr lang="en-US" sz="12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00038" y="792000"/>
            <a:ext cx="6858000" cy="1731243"/>
          </a:xfrm>
        </p:spPr>
        <p:txBody>
          <a:bodyPr vert="horz" anchor="t">
            <a:spAutoFit/>
          </a:bodyPr>
          <a:lstStyle>
            <a:lvl1pPr algn="l" rtl="0">
              <a:lnSpc>
                <a:spcPts val="45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Esentation</a:t>
            </a:r>
            <a:r>
              <a:rPr lang="en-US" dirty="0"/>
              <a:t> title, Segoe UI, 45pt, </a:t>
            </a:r>
            <a:br>
              <a:rPr lang="en-US" dirty="0"/>
            </a:br>
            <a:r>
              <a:rPr lang="en-US" dirty="0"/>
              <a:t>max. three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00038" y="2711435"/>
            <a:ext cx="2057681" cy="24212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accent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D74BD4FA-483E-40DF-8079-45B5BE2F7DF2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38820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6093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297439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Varia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A633ECB-07AD-44A7-8EF2-1B6401B444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7178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A633ECB-07AD-44A7-8EF2-1B6401B444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rgbClr val="DED7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>
              <a:solidFill>
                <a:schemeClr val="accent1"/>
              </a:solidFill>
            </a:endParaRP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BE4E586-88CE-494B-9DF4-3093DED303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0037" y="3741420"/>
            <a:ext cx="8539955" cy="188321"/>
          </a:xfrm>
        </p:spPr>
        <p:txBody>
          <a:bodyPr>
            <a:noAutofit/>
          </a:bodyPr>
          <a:lstStyle>
            <a:lvl1pPr marL="0" indent="0" rtl="0">
              <a:buNone/>
              <a:defRPr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Author, Segoe UI, 12p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2419" y="524192"/>
            <a:ext cx="8539955" cy="3077766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Quote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6 Lines</a:t>
            </a:r>
          </a:p>
        </p:txBody>
      </p:sp>
    </p:spTree>
    <p:extLst>
      <p:ext uri="{BB962C8B-B14F-4D97-AF65-F5344CB8AC3E}">
        <p14:creationId xmlns:p14="http://schemas.microsoft.com/office/powerpoint/2010/main" val="199771726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848DF53-2AA0-4D9F-A482-C8247EE21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0585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5848DF53-2AA0-4D9F-A482-C8247EE21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512961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.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4414463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848DF53-2AA0-4D9F-A482-C8247EE21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0585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5848DF53-2AA0-4D9F-A482-C8247EE21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512961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hank You.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Grafik 8">
            <a:extLst>
              <a:ext uri="{FF2B5EF4-FFF2-40B4-BE49-F238E27FC236}">
                <a16:creationId xmlns:a16="http://schemas.microsoft.com/office/drawing/2014/main" id="{EC2333C9-7C64-4C37-8085-3482C25F21FB}"/>
              </a:ext>
            </a:extLst>
          </p:cNvPr>
          <p:cNvSpPr/>
          <p:nvPr userDrawn="1"/>
        </p:nvSpPr>
        <p:spPr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255341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0DE717E-46C1-446C-AC0A-112EF61AB8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475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0DE717E-46C1-446C-AC0A-112EF61AB8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2420" y="303212"/>
            <a:ext cx="3919060" cy="512961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.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3A18A666-963B-452E-AD8E-146C9F2ACCD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57200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77738894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04FCD6D-FEBB-4B98-A8C4-8431CC99C5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690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04FCD6D-FEBB-4B98-A8C4-8431CC99C5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84AB2A2-5C36-4389-B017-BFC52E12087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5180" y="3485339"/>
            <a:ext cx="2446020" cy="326004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txBody>
          <a:bodyPr wrap="square" lIns="90000" tIns="43200" rIns="90000" bIns="43200" anchor="ctr">
            <a:spAutoFit/>
          </a:bodyPr>
          <a:lstStyle>
            <a:lvl1pPr marL="0" indent="0" algn="ctr">
              <a:buNone/>
              <a:defRPr sz="9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Find Out more on henkel.com</a:t>
            </a:r>
          </a:p>
        </p:txBody>
      </p:sp>
      <p:sp>
        <p:nvSpPr>
          <p:cNvPr id="9" name="Grafik 8">
            <a:extLst>
              <a:ext uri="{FF2B5EF4-FFF2-40B4-BE49-F238E27FC236}">
                <a16:creationId xmlns:a16="http://schemas.microsoft.com/office/drawing/2014/main" id="{8C3A2EF6-6C94-4211-862D-30B55989F42C}"/>
              </a:ext>
            </a:extLst>
          </p:cNvPr>
          <p:cNvSpPr/>
          <p:nvPr userDrawn="1"/>
        </p:nvSpPr>
        <p:spPr bwMode="gray">
          <a:xfrm>
            <a:off x="3552350" y="1677370"/>
            <a:ext cx="2017870" cy="1125096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669523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158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DED7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C7FC146F-8647-4DFB-A98F-1133452643A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D01BF756-A092-4664-A90D-C8A1CD33A9C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2190666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86641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DED7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38840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1479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1756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rgbClr val="F6E67D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AB3D9F52-0B6D-4547-AF18-EBEAA3D5E55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EDD65B7E-6040-41A8-A16D-05D3AEB068A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21257186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7576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1756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rgbClr val="F6E67D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28674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7304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F6E6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rgbClr val="175641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9E3449E0-CEB3-4C53-976C-0734C47EA55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DB6C3185-E1E7-43BF-BD7C-7DF1B7768DE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2547301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9716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F6E6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rgbClr val="175641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886640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01439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3180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rgbClr val="DFEBC2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5A4EA6A3-1751-425A-9487-70CE5028842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2277825A-FEB6-4466-BA6B-EBB1C70D318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39635521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1547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3180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rgbClr val="DFEBC2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050177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5036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DFEB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rgbClr val="318096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BA0DD509-B738-4671-8F78-20AAE2CDA5E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1FAABEB8-81DC-419C-8394-06085D9E248D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718478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out pictur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6752D80-65D7-41FB-9C4B-3947D0C436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0023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6752D80-65D7-41FB-9C4B-3947D0C436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89F91883-D766-4AAC-90B7-69A91534ED46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 algn="l"/>
            <a:endParaRPr lang="en-US" sz="12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00038" y="792000"/>
            <a:ext cx="6858000" cy="1731243"/>
          </a:xfrm>
        </p:spPr>
        <p:txBody>
          <a:bodyPr vert="horz" anchor="t">
            <a:spAutoFit/>
          </a:bodyPr>
          <a:lstStyle>
            <a:lvl1pPr algn="l" rtl="0">
              <a:lnSpc>
                <a:spcPts val="4500"/>
              </a:lnSpc>
              <a:defRPr sz="4500">
                <a:solidFill>
                  <a:schemeClr val="accent1"/>
                </a:solidFill>
              </a:defRPr>
            </a:lvl1pPr>
          </a:lstStyle>
          <a:p>
            <a:r>
              <a:rPr lang="en-US" dirty="0" err="1"/>
              <a:t>PrEsentation</a:t>
            </a:r>
            <a:r>
              <a:rPr lang="en-US" dirty="0"/>
              <a:t> title, Segoe UI, 45pt, </a:t>
            </a:r>
            <a:br>
              <a:rPr lang="en-US" dirty="0"/>
            </a:br>
            <a:r>
              <a:rPr lang="en-US" dirty="0"/>
              <a:t>max. three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D74BD4FA-483E-40DF-8079-45B5BE2F7DF2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5B69B33-5E60-4C3B-AAD7-7D7122C27D4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00038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8" name="Textplatzhalter 16">
            <a:extLst>
              <a:ext uri="{FF2B5EF4-FFF2-40B4-BE49-F238E27FC236}">
                <a16:creationId xmlns:a16="http://schemas.microsoft.com/office/drawing/2014/main" id="{37E4806C-BD18-4D90-B0E2-E72442B67C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8020050" y="4381363"/>
            <a:ext cx="822325" cy="458502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 rtl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98598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6530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DFEB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rgbClr val="318096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340529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0838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8719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rgbClr val="F4C59E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A91B005A-8220-48D4-B553-056F8953FC2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3CD252B3-C0F4-4966-ABC7-4D25D3A9CA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1430032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7393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8719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rgbClr val="F4C59E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987046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7592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F4C5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rgbClr val="871964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8C3FDDC2-8DC2-466D-9F5C-90CA7A49234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77F7A5A2-C1FC-4B22-A850-FB8A5DF6235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16598205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0787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F4C5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rgbClr val="871964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376223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3614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A2EC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rgbClr val="69008C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21BE8A37-8162-4CAE-BD0C-5619002136F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8DDB3A38-E08B-4242-9771-6BD1A596F9F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2378976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9666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A2EC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rgbClr val="69008C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998576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3281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6900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rgbClr val="A2ECBA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9E0B457A-2C7B-4D8B-B0CE-5A239865D5C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B0B4E035-3347-4C5E-8B56-4A09B3AF5AE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310121841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1094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6900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rgbClr val="A2ECBA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18652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6740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005F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rgbClr val="E8E200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57DA8024-86D7-42BE-9453-625CDA9BDA4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4EC617B1-073A-444A-AC02-4ADF3782DE5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24520721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, red wri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6752D80-65D7-41FB-9C4B-3947D0C436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278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6752D80-65D7-41FB-9C4B-3947D0C436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Grafik 8">
            <a:extLst>
              <a:ext uri="{FF2B5EF4-FFF2-40B4-BE49-F238E27FC236}">
                <a16:creationId xmlns:a16="http://schemas.microsoft.com/office/drawing/2014/main" id="{FD4CCEA9-2FCB-4868-B0FB-5518BA95DE56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9144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D7A67207-ECFF-4FE5-8129-B630D87FA76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8020050" y="4381363"/>
            <a:ext cx="822325" cy="458502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 rtl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00038" y="792000"/>
            <a:ext cx="6858000" cy="1731243"/>
          </a:xfrm>
        </p:spPr>
        <p:txBody>
          <a:bodyPr vert="horz" anchor="t">
            <a:spAutoFit/>
          </a:bodyPr>
          <a:lstStyle>
            <a:lvl1pPr algn="l" rtl="0">
              <a:lnSpc>
                <a:spcPts val="4500"/>
              </a:lnSpc>
              <a:defRPr sz="4500"/>
            </a:lvl1pPr>
          </a:lstStyle>
          <a:p>
            <a:r>
              <a:rPr lang="en-US" dirty="0"/>
              <a:t>Presentation title, Segoe UI, 45pt, </a:t>
            </a:r>
            <a:br>
              <a:rPr lang="en-US" dirty="0"/>
            </a:br>
            <a:r>
              <a:rPr lang="en-US" dirty="0"/>
              <a:t>max. three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00038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</p:spTree>
    <p:extLst>
      <p:ext uri="{BB962C8B-B14F-4D97-AF65-F5344CB8AC3E}">
        <p14:creationId xmlns:p14="http://schemas.microsoft.com/office/powerpoint/2010/main" val="19237908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5466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005F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rgbClr val="E8E200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128999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64945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E8E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rgbClr val="005FBE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0616784-71D5-4539-BD85-050D2DF5C3B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5814BA38-9E60-4374-ADCB-F7D6526F81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75554111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33832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E8E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rgbClr val="005FBE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472799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6410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FBA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rgbClr val="28325A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2D539E2E-F4B3-4C70-ACF7-A9231130E36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D18D4241-549D-43A0-8E29-A01969CE919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312405429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6394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FBA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rgbClr val="28325A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726629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73575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2832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rgbClr val="FBA700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11" name="Bildplatzhalter 14">
            <a:extLst>
              <a:ext uri="{FF2B5EF4-FFF2-40B4-BE49-F238E27FC236}">
                <a16:creationId xmlns:a16="http://schemas.microsoft.com/office/drawing/2014/main" id="{D852C848-C659-49BA-8563-14F594D465F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54F89500-C6C2-41FE-9AB7-437D9889926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65935160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36946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2832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rgbClr val="FBA700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385999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red,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E814652-240D-4F3F-B8D8-CF0E1C51C8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2441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2E814652-240D-4F3F-B8D8-CF0E1C51C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>
            <a:extLst>
              <a:ext uri="{FF2B5EF4-FFF2-40B4-BE49-F238E27FC236}">
                <a16:creationId xmlns:a16="http://schemas.microsoft.com/office/drawing/2014/main" id="{4F31E03E-0B84-42DF-96D6-866220F9066A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87A679F-C7D2-4BA6-A63E-287E73B66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Agenda, Segoe UI, 24pt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F1B3BC-E1C5-495F-B01F-658F5D13A2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9B6B11-6DED-47D3-B608-B7871E838D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Grafik 8">
            <a:extLst>
              <a:ext uri="{FF2B5EF4-FFF2-40B4-BE49-F238E27FC236}">
                <a16:creationId xmlns:a16="http://schemas.microsoft.com/office/drawing/2014/main" id="{84B4407D-2B3F-4077-A520-E90EBFC11948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193D90E7-A664-4226-8164-AD537C10FD2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00037" y="1492250"/>
            <a:ext cx="7091363" cy="25109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ategory 1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E27D352A-1990-4E23-B2FC-3A6ECBA037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00037" y="1904999"/>
            <a:ext cx="7091363" cy="2466975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6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	Topic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993992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red,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E814652-240D-4F3F-B8D8-CF0E1C51C8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75580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2E814652-240D-4F3F-B8D8-CF0E1C51C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>
            <a:extLst>
              <a:ext uri="{FF2B5EF4-FFF2-40B4-BE49-F238E27FC236}">
                <a16:creationId xmlns:a16="http://schemas.microsoft.com/office/drawing/2014/main" id="{4F31E03E-0B84-42DF-96D6-866220F9066A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87A679F-C7D2-4BA6-A63E-287E73B66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5641180" cy="615553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Agenda, Segoe UI, 24pt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F1B3BC-E1C5-495F-B01F-658F5D13A2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9B6B11-6DED-47D3-B608-B7871E838D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Grafik 8">
            <a:extLst>
              <a:ext uri="{FF2B5EF4-FFF2-40B4-BE49-F238E27FC236}">
                <a16:creationId xmlns:a16="http://schemas.microsoft.com/office/drawing/2014/main" id="{84B4407D-2B3F-4077-A520-E90EBFC11948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193D90E7-A664-4226-8164-AD537C10FD2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00038" y="1492250"/>
            <a:ext cx="2171700" cy="25109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ategory 1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E27D352A-1990-4E23-B2FC-3A6ECBA037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00038" y="1904999"/>
            <a:ext cx="2171700" cy="2466975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6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	Topic</a:t>
            </a:r>
          </a:p>
          <a:p>
            <a:pPr lvl="0"/>
            <a:endParaRPr lang="en-US" dirty="0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CF7F08D6-CCB1-4EE6-B8BB-4FBC4A85690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195638" y="1492250"/>
            <a:ext cx="2176462" cy="25109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ategory 2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91EE2EFD-A7A9-4EBA-AB73-3F7AC5BF72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195638" y="1904999"/>
            <a:ext cx="2176462" cy="2466975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6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00	Topic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3F18E8CB-CD03-40C6-B7D1-87326F397AF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0"/>
            <a:ext cx="3048000" cy="5145088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204607945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red, 3 categor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E814652-240D-4F3F-B8D8-CF0E1C51C8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2441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2E814652-240D-4F3F-B8D8-CF0E1C51C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>
            <a:extLst>
              <a:ext uri="{FF2B5EF4-FFF2-40B4-BE49-F238E27FC236}">
                <a16:creationId xmlns:a16="http://schemas.microsoft.com/office/drawing/2014/main" id="{4F31E03E-0B84-42DF-96D6-866220F9066A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87A679F-C7D2-4BA6-A63E-287E73B66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Agenda, Segoe UI, 24pt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F1B3BC-E1C5-495F-B01F-658F5D13A2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9B6B11-6DED-47D3-B608-B7871E838D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Grafik 8">
            <a:extLst>
              <a:ext uri="{FF2B5EF4-FFF2-40B4-BE49-F238E27FC236}">
                <a16:creationId xmlns:a16="http://schemas.microsoft.com/office/drawing/2014/main" id="{84B4407D-2B3F-4077-A520-E90EBFC11948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193D90E7-A664-4226-8164-AD537C10FD2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00038" y="1492250"/>
            <a:ext cx="2171700" cy="25109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ategory 1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E27D352A-1990-4E23-B2FC-3A6ECBA037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00038" y="1904999"/>
            <a:ext cx="2171700" cy="2466975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6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	Topic</a:t>
            </a:r>
          </a:p>
          <a:p>
            <a:pPr lvl="0"/>
            <a:endParaRPr lang="en-US" dirty="0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CF7F08D6-CCB1-4EE6-B8BB-4FBC4A85690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195638" y="1492250"/>
            <a:ext cx="2176462" cy="25109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ategory 2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91EE2EFD-A7A9-4EBA-AB73-3F7AC5BF72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195638" y="1904999"/>
            <a:ext cx="2176462" cy="2466975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6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	Topic</a:t>
            </a:r>
          </a:p>
          <a:p>
            <a:pPr lvl="0"/>
            <a:endParaRPr lang="en-US" dirty="0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36528EAF-06EF-4E10-9756-97CCFAF215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096000" y="1492250"/>
            <a:ext cx="2174876" cy="25109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ategory 3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66E84559-1973-4240-B47D-733F095B870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096000" y="1904999"/>
            <a:ext cx="2174875" cy="2466975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6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	Topic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07560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, white wri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389BCF4-C99D-48D8-9A74-2007D279C2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6767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389BCF4-C99D-48D8-9A74-2007D279C2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Grafik 8">
            <a:extLst>
              <a:ext uri="{FF2B5EF4-FFF2-40B4-BE49-F238E27FC236}">
                <a16:creationId xmlns:a16="http://schemas.microsoft.com/office/drawing/2014/main" id="{FD4CCEA9-2FCB-4868-B0FB-5518BA95DE56}"/>
              </a:ext>
            </a:extLst>
          </p:cNvPr>
          <p:cNvSpPr/>
          <p:nvPr userDrawn="1"/>
        </p:nvSpPr>
        <p:spPr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5088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D7A67207-ECFF-4FE5-8129-B630D87FA76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020050" y="4381363"/>
            <a:ext cx="822325" cy="458502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 rtl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0038" y="792000"/>
            <a:ext cx="6858000" cy="1731243"/>
          </a:xfrm>
        </p:spPr>
        <p:txBody>
          <a:bodyPr vert="horz" anchor="t">
            <a:spAutoFit/>
          </a:bodyPr>
          <a:lstStyle>
            <a:lvl1pPr algn="l" rtl="0">
              <a:lnSpc>
                <a:spcPts val="45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, Segoe UI, 45pt, </a:t>
            </a:r>
            <a:br>
              <a:rPr lang="en-US" dirty="0"/>
            </a:br>
            <a:r>
              <a:rPr lang="en-US" dirty="0"/>
              <a:t>max. three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0038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</p:spTree>
    <p:extLst>
      <p:ext uri="{BB962C8B-B14F-4D97-AF65-F5344CB8AC3E}">
        <p14:creationId xmlns:p14="http://schemas.microsoft.com/office/powerpoint/2010/main" val="129367857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red, 5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8">
            <a:extLst>
              <a:ext uri="{FF2B5EF4-FFF2-40B4-BE49-F238E27FC236}">
                <a16:creationId xmlns:a16="http://schemas.microsoft.com/office/drawing/2014/main" id="{681CA2B5-B3EC-EFD0-0165-287FB94747FE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E814652-240D-4F3F-B8D8-CF0E1C51C8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2441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2E814652-240D-4F3F-B8D8-CF0E1C51C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87A679F-C7D2-4BA6-A63E-287E73B66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Agenda, Segoe UI, 24pt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F1B3BC-E1C5-495F-B01F-658F5D13A2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9B6B11-6DED-47D3-B608-B7871E838D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Grafik 8">
            <a:extLst>
              <a:ext uri="{FF2B5EF4-FFF2-40B4-BE49-F238E27FC236}">
                <a16:creationId xmlns:a16="http://schemas.microsoft.com/office/drawing/2014/main" id="{84B4407D-2B3F-4077-A520-E90EBFC11948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5" name="Textplatzhalter 12">
            <a:extLst>
              <a:ext uri="{FF2B5EF4-FFF2-40B4-BE49-F238E27FC236}">
                <a16:creationId xmlns:a16="http://schemas.microsoft.com/office/drawing/2014/main" id="{E9C5768F-A271-0CD9-016B-E33207FD365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00038" y="1492250"/>
            <a:ext cx="1447800" cy="25109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None/>
              <a:defRPr sz="1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ategory 1</a:t>
            </a:r>
          </a:p>
        </p:txBody>
      </p:sp>
      <p:sp>
        <p:nvSpPr>
          <p:cNvPr id="7" name="Textplatzhalter 16">
            <a:extLst>
              <a:ext uri="{FF2B5EF4-FFF2-40B4-BE49-F238E27FC236}">
                <a16:creationId xmlns:a16="http://schemas.microsoft.com/office/drawing/2014/main" id="{51BC0A0F-BCA0-884E-FEC9-058147DBD2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00038" y="1904999"/>
            <a:ext cx="1447800" cy="2466975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4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 Topic</a:t>
            </a:r>
          </a:p>
          <a:p>
            <a:pPr lvl="0"/>
            <a:endParaRPr lang="en-US" dirty="0"/>
          </a:p>
        </p:txBody>
      </p:sp>
      <p:sp>
        <p:nvSpPr>
          <p:cNvPr id="23" name="Textplatzhalter 12">
            <a:extLst>
              <a:ext uri="{FF2B5EF4-FFF2-40B4-BE49-F238E27FC236}">
                <a16:creationId xmlns:a16="http://schemas.microsoft.com/office/drawing/2014/main" id="{30BF5F6B-6587-BDA8-247B-5561F18202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069108" y="1492250"/>
            <a:ext cx="1447800" cy="25109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None/>
              <a:defRPr sz="1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ategory 2</a:t>
            </a:r>
          </a:p>
        </p:txBody>
      </p:sp>
      <p:sp>
        <p:nvSpPr>
          <p:cNvPr id="24" name="Textplatzhalter 16">
            <a:extLst>
              <a:ext uri="{FF2B5EF4-FFF2-40B4-BE49-F238E27FC236}">
                <a16:creationId xmlns:a16="http://schemas.microsoft.com/office/drawing/2014/main" id="{A2E040A5-7BEB-D530-C6AA-370B415C841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069108" y="1904999"/>
            <a:ext cx="1447800" cy="2466975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4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 Topic</a:t>
            </a:r>
          </a:p>
          <a:p>
            <a:pPr lvl="0"/>
            <a:endParaRPr lang="en-US" dirty="0"/>
          </a:p>
        </p:txBody>
      </p:sp>
      <p:sp>
        <p:nvSpPr>
          <p:cNvPr id="25" name="Textplatzhalter 12">
            <a:extLst>
              <a:ext uri="{FF2B5EF4-FFF2-40B4-BE49-F238E27FC236}">
                <a16:creationId xmlns:a16="http://schemas.microsoft.com/office/drawing/2014/main" id="{9D549421-13D5-1A97-7588-7756D665CBD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50878" y="1498601"/>
            <a:ext cx="1447800" cy="25109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None/>
              <a:defRPr sz="1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ategory 3</a:t>
            </a:r>
          </a:p>
        </p:txBody>
      </p:sp>
      <p:sp>
        <p:nvSpPr>
          <p:cNvPr id="26" name="Textplatzhalter 16">
            <a:extLst>
              <a:ext uri="{FF2B5EF4-FFF2-40B4-BE49-F238E27FC236}">
                <a16:creationId xmlns:a16="http://schemas.microsoft.com/office/drawing/2014/main" id="{EBC5DC18-F45D-484B-99C2-E4D52B69F6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50878" y="1911350"/>
            <a:ext cx="1447800" cy="2466975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4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 Topic</a:t>
            </a:r>
          </a:p>
          <a:p>
            <a:pPr lvl="0"/>
            <a:endParaRPr lang="en-US" dirty="0"/>
          </a:p>
        </p:txBody>
      </p:sp>
      <p:sp>
        <p:nvSpPr>
          <p:cNvPr id="30" name="Textplatzhalter 12">
            <a:extLst>
              <a:ext uri="{FF2B5EF4-FFF2-40B4-BE49-F238E27FC236}">
                <a16:creationId xmlns:a16="http://schemas.microsoft.com/office/drawing/2014/main" id="{3CE7AE54-6D0D-3CE5-41E0-4CC80C24434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619254" y="1498600"/>
            <a:ext cx="1447800" cy="25109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None/>
              <a:defRPr sz="1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ategory 4</a:t>
            </a:r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86F0B5B2-D93A-A803-4782-3186BCD252C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619254" y="1911349"/>
            <a:ext cx="1447800" cy="2466975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4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 Topic</a:t>
            </a:r>
          </a:p>
          <a:p>
            <a:pPr lvl="0"/>
            <a:endParaRPr lang="en-US" dirty="0"/>
          </a:p>
        </p:txBody>
      </p:sp>
      <p:sp>
        <p:nvSpPr>
          <p:cNvPr id="32" name="Textplatzhalter 12">
            <a:extLst>
              <a:ext uri="{FF2B5EF4-FFF2-40B4-BE49-F238E27FC236}">
                <a16:creationId xmlns:a16="http://schemas.microsoft.com/office/drawing/2014/main" id="{C2FD2604-576A-5D04-1FC5-EC66519248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393633" y="1498600"/>
            <a:ext cx="1447800" cy="25109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None/>
              <a:defRPr sz="1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ategory 5</a:t>
            </a:r>
          </a:p>
        </p:txBody>
      </p:sp>
      <p:sp>
        <p:nvSpPr>
          <p:cNvPr id="33" name="Textplatzhalter 16">
            <a:extLst>
              <a:ext uri="{FF2B5EF4-FFF2-40B4-BE49-F238E27FC236}">
                <a16:creationId xmlns:a16="http://schemas.microsoft.com/office/drawing/2014/main" id="{DFF3E3DD-53BE-A21A-0CC1-229C83FF6F8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393633" y="1911349"/>
            <a:ext cx="1447800" cy="2466975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4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 Topic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348999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red,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E814652-240D-4F3F-B8D8-CF0E1C51C8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2441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2E814652-240D-4F3F-B8D8-CF0E1C51C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>
            <a:extLst>
              <a:ext uri="{FF2B5EF4-FFF2-40B4-BE49-F238E27FC236}">
                <a16:creationId xmlns:a16="http://schemas.microsoft.com/office/drawing/2014/main" id="{4F31E03E-0B84-42DF-96D6-866220F9066A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87A679F-C7D2-4BA6-A63E-287E73B66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Agenda, Segoe UI, 24pt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F1B3BC-E1C5-495F-B01F-658F5D13A2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9B6B11-6DED-47D3-B608-B7871E838D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Grafik 8">
            <a:extLst>
              <a:ext uri="{FF2B5EF4-FFF2-40B4-BE49-F238E27FC236}">
                <a16:creationId xmlns:a16="http://schemas.microsoft.com/office/drawing/2014/main" id="{84B4407D-2B3F-4077-A520-E90EBFC11948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E27D352A-1990-4E23-B2FC-3A6ECBA037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00038" y="1492251"/>
            <a:ext cx="2171700" cy="2879724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6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	Topic</a:t>
            </a:r>
          </a:p>
          <a:p>
            <a:pPr lvl="0"/>
            <a:endParaRPr lang="en-US" dirty="0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91EE2EFD-A7A9-4EBA-AB73-3F7AC5BF72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195638" y="1492251"/>
            <a:ext cx="2176462" cy="2879724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6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	Topic</a:t>
            </a:r>
          </a:p>
          <a:p>
            <a:pPr lvl="0"/>
            <a:endParaRPr lang="en-US" dirty="0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66E84559-1973-4240-B47D-733F095B870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096000" y="1492251"/>
            <a:ext cx="2174875" cy="2879724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6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	Topic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501099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AB7100B-7991-48A5-9EB9-E14CDAF885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74864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0AB7100B-7991-48A5-9EB9-E14CDAF885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7859EA-314D-49E2-A15A-FC28AC31BC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FAEC7E7D-A48B-4845-9B3C-BCF4ED6EBA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</p:spTree>
    <p:extLst>
      <p:ext uri="{BB962C8B-B14F-4D97-AF65-F5344CB8AC3E}">
        <p14:creationId xmlns:p14="http://schemas.microsoft.com/office/powerpoint/2010/main" val="183898298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AB7100B-7991-48A5-9EB9-E14CDAF885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4248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0AB7100B-7991-48A5-9EB9-E14CDAF885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4A0FEDB5-55F9-4E87-8B03-149544ABDF68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7859EA-314D-49E2-A15A-FC28AC31BC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FAEC7E7D-A48B-4845-9B3C-BCF4ED6EBA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9" name="Grafik 8">
            <a:extLst>
              <a:ext uri="{FF2B5EF4-FFF2-40B4-BE49-F238E27FC236}">
                <a16:creationId xmlns:a16="http://schemas.microsoft.com/office/drawing/2014/main" id="{E090A17D-1ADA-4C44-BB80-67CAA3C46B3E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3900860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ABC2A01-E2BE-4156-8757-2C2BD7738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9168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ABC2A01-E2BE-4156-8757-2C2BD7738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7859EA-314D-49E2-A15A-FC28AC31BC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9007340-05A2-41EA-A606-71FD79D2BC7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0038" y="1492250"/>
            <a:ext cx="7091362" cy="188321"/>
          </a:xfrm>
        </p:spPr>
        <p:txBody>
          <a:bodyPr>
            <a:noAutofit/>
          </a:bodyPr>
          <a:lstStyle>
            <a:lvl1pPr marL="0" indent="0" rtl="0">
              <a:buNone/>
              <a:defRPr b="1">
                <a:solidFill>
                  <a:schemeClr val="accent1"/>
                </a:solidFill>
                <a:latin typeface="+mj-lt"/>
                <a:ea typeface="GT Flexa Bl" pitchFamily="2" charset="0"/>
                <a:cs typeface="GT Flexa Bl" pitchFamily="2" charset="0"/>
              </a:defRPr>
            </a:lvl1pPr>
          </a:lstStyle>
          <a:p>
            <a:pPr lvl="0"/>
            <a:r>
              <a:rPr lang="en-US" dirty="0"/>
              <a:t>Subtitle, Segoe UI, 12p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7EFB9F6-5AEB-4EF1-B28C-A7BCCA8417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1832971"/>
            <a:ext cx="7091362" cy="2539005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708729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+ margin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C2AE64E-F763-43E8-B948-FA922006A3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444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C2AE64E-F763-43E8-B948-FA922006A3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>
            <a:extLst>
              <a:ext uri="{FF2B5EF4-FFF2-40B4-BE49-F238E27FC236}">
                <a16:creationId xmlns:a16="http://schemas.microsoft.com/office/drawing/2014/main" id="{27E887E9-8CA6-4D4B-A36A-AC353E536CE1}"/>
              </a:ext>
            </a:extLst>
          </p:cNvPr>
          <p:cNvSpPr/>
          <p:nvPr userDrawn="1"/>
        </p:nvSpPr>
        <p:spPr bwMode="gray">
          <a:xfrm>
            <a:off x="6096000" y="0"/>
            <a:ext cx="3048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5641180" cy="61555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7859EA-314D-49E2-A15A-FC28AC31BC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9007340-05A2-41EA-A606-71FD79D2BC7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00038" y="1492250"/>
            <a:ext cx="5641180" cy="398827"/>
          </a:xfrm>
        </p:spPr>
        <p:txBody>
          <a:bodyPr>
            <a:noAutofit/>
          </a:bodyPr>
          <a:lstStyle>
            <a:lvl1pPr marL="0" indent="0" rtl="0">
              <a:buNone/>
              <a:defRPr b="1">
                <a:solidFill>
                  <a:schemeClr val="accent1"/>
                </a:solidFill>
                <a:latin typeface="+mj-lt"/>
                <a:ea typeface="GT Flexa Bl" pitchFamily="2" charset="0"/>
                <a:cs typeface="GT Flexa Bl" pitchFamily="2" charset="0"/>
              </a:defRPr>
            </a:lvl1pPr>
          </a:lstStyle>
          <a:p>
            <a:pPr lvl="0"/>
            <a:r>
              <a:rPr lang="en-US" dirty="0"/>
              <a:t>Subtitle, Segoe UI, 12p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7EFB9F6-5AEB-4EF1-B28C-A7BCCA8417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00038" y="2040340"/>
            <a:ext cx="5641180" cy="2331636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/>
            </a:lvl1pPr>
            <a:lvl2pPr algn="l"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82EFB41-8EA9-455E-8500-4970A8B8DB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366681" y="275904"/>
            <a:ext cx="2474107" cy="188321"/>
          </a:xfrm>
        </p:spPr>
        <p:txBody>
          <a:bodyPr>
            <a:noAutofit/>
          </a:bodyPr>
          <a:lstStyle>
            <a:lvl1pPr marL="0" indent="0" rtl="0">
              <a:buClr>
                <a:schemeClr val="bg1"/>
              </a:buClr>
              <a:buNone/>
              <a:defRPr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ubtitle, Segoe UI, 12p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9DD6B41F-29EB-4B6E-8D5E-4D58DDEE97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366681" y="642938"/>
            <a:ext cx="2475694" cy="3729038"/>
          </a:xfrm>
        </p:spPr>
        <p:txBody>
          <a:bodyPr/>
          <a:lstStyle>
            <a:lvl1pPr marL="162000" indent="-162000" rtl="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marL="1296000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7" name="Grafik 8">
            <a:extLst>
              <a:ext uri="{FF2B5EF4-FFF2-40B4-BE49-F238E27FC236}">
                <a16:creationId xmlns:a16="http://schemas.microsoft.com/office/drawing/2014/main" id="{F64AAAB0-FA74-4B39-A2A7-034416132C8D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4535674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+ margin column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3AA824B-4E89-41EC-8BF6-3AD4211A37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1087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3AA824B-4E89-41EC-8BF6-3AD4211A37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>
            <a:extLst>
              <a:ext uri="{FF2B5EF4-FFF2-40B4-BE49-F238E27FC236}">
                <a16:creationId xmlns:a16="http://schemas.microsoft.com/office/drawing/2014/main" id="{27E887E9-8CA6-4D4B-A36A-AC353E536CE1}"/>
              </a:ext>
            </a:extLst>
          </p:cNvPr>
          <p:cNvSpPr/>
          <p:nvPr userDrawn="1"/>
        </p:nvSpPr>
        <p:spPr bwMode="gray">
          <a:xfrm>
            <a:off x="6096000" y="0"/>
            <a:ext cx="3048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5641180" cy="61555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7859EA-314D-49E2-A15A-FC28AC31BC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9007340-05A2-41EA-A606-71FD79D2BC7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00038" y="1492250"/>
            <a:ext cx="5641180" cy="398827"/>
          </a:xfrm>
        </p:spPr>
        <p:txBody>
          <a:bodyPr>
            <a:noAutofit/>
          </a:bodyPr>
          <a:lstStyle>
            <a:lvl1pPr marL="0" indent="0" rtl="0">
              <a:buNone/>
              <a:defRPr b="1">
                <a:solidFill>
                  <a:schemeClr val="accent1"/>
                </a:solidFill>
                <a:latin typeface="+mj-lt"/>
                <a:ea typeface="GT Flexa Bl" pitchFamily="2" charset="0"/>
                <a:cs typeface="GT Flexa Bl" pitchFamily="2" charset="0"/>
              </a:defRPr>
            </a:lvl1pPr>
          </a:lstStyle>
          <a:p>
            <a:pPr lvl="0"/>
            <a:r>
              <a:rPr lang="en-US" dirty="0"/>
              <a:t>Subtitle, Segoe UI, 12p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7EFB9F6-5AEB-4EF1-B28C-A7BCCA8417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00038" y="2040340"/>
            <a:ext cx="5641180" cy="2331636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/>
            </a:lvl1pPr>
            <a:lvl2pPr algn="l"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Grafik 8">
            <a:extLst>
              <a:ext uri="{FF2B5EF4-FFF2-40B4-BE49-F238E27FC236}">
                <a16:creationId xmlns:a16="http://schemas.microsoft.com/office/drawing/2014/main" id="{F64AAAB0-FA74-4B39-A2A7-034416132C8D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A6A4363-F616-4407-B686-AA221CB705E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0"/>
            <a:ext cx="3048000" cy="2572544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82EFB41-8EA9-455E-8500-4970A8B8DB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366681" y="2816698"/>
            <a:ext cx="2474107" cy="188321"/>
          </a:xfrm>
        </p:spPr>
        <p:txBody>
          <a:bodyPr>
            <a:noAutofit/>
          </a:bodyPr>
          <a:lstStyle>
            <a:lvl1pPr marL="0" indent="0" rtl="0">
              <a:buClr>
                <a:schemeClr val="bg1"/>
              </a:buClr>
              <a:buNone/>
              <a:defRPr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ubtitle, Segoe UI, 12p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9DD6B41F-29EB-4B6E-8D5E-4D58DDEE97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366681" y="3183732"/>
            <a:ext cx="2475694" cy="1188244"/>
          </a:xfrm>
        </p:spPr>
        <p:txBody>
          <a:bodyPr/>
          <a:lstStyle>
            <a:lvl1pPr marL="162000" indent="-162000" rtl="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marL="1296000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926561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s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2337D2E-40FD-4DFC-A64D-11F24C4DE6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2956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02337D2E-40FD-4DFC-A64D-11F24C4DE6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2420" y="303212"/>
            <a:ext cx="5641180" cy="61555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7859EA-314D-49E2-A15A-FC28AC31BC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9007340-05A2-41EA-A606-71FD79D2BC7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0038" y="1492250"/>
            <a:ext cx="5641180" cy="398827"/>
          </a:xfrm>
        </p:spPr>
        <p:txBody>
          <a:bodyPr>
            <a:noAutofit/>
          </a:bodyPr>
          <a:lstStyle>
            <a:lvl1pPr marL="0" indent="0" rtl="0">
              <a:buNone/>
              <a:defRPr b="1">
                <a:solidFill>
                  <a:schemeClr val="accent1"/>
                </a:solidFill>
                <a:latin typeface="+mj-lt"/>
                <a:ea typeface="GT Flexa Bl" pitchFamily="2" charset="0"/>
                <a:cs typeface="GT Flexa Bl" pitchFamily="2" charset="0"/>
              </a:defRPr>
            </a:lvl1pPr>
          </a:lstStyle>
          <a:p>
            <a:pPr lvl="0"/>
            <a:r>
              <a:rPr lang="en-US" dirty="0"/>
              <a:t>Subtitle, Segoe UI, 12p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7EFB9F6-5AEB-4EF1-B28C-A7BCCA8417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040340"/>
            <a:ext cx="2743200" cy="2331636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/>
            </a:lvl1pPr>
            <a:lvl2pPr algn="l"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A6A4363-F616-4407-B686-AA221CB705E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19900" y="0"/>
            <a:ext cx="23241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457BE55-A82C-43C5-BC22-EC149179F2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95638" y="2040339"/>
            <a:ext cx="2743200" cy="2331635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Ebene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1151748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B2BA29D9-2E45-4D20-9CC6-912FB35995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4451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B2BA29D9-2E45-4D20-9CC6-912FB35995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1B1C7942-B3D3-4A92-ADA0-4EE61A866B6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46612" y="0"/>
            <a:ext cx="44973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2420" y="303212"/>
            <a:ext cx="3919060" cy="61555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7859EA-314D-49E2-A15A-FC28AC31BC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9007340-05A2-41EA-A606-71FD79D2BC7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0038" y="1492250"/>
            <a:ext cx="3919060" cy="188321"/>
          </a:xfrm>
        </p:spPr>
        <p:txBody>
          <a:bodyPr>
            <a:noAutofit/>
          </a:bodyPr>
          <a:lstStyle>
            <a:lvl1pPr marL="0" indent="0" rtl="0">
              <a:buNone/>
              <a:defRPr b="1">
                <a:solidFill>
                  <a:schemeClr val="accent1"/>
                </a:solidFill>
                <a:latin typeface="+mj-lt"/>
                <a:ea typeface="GT Flexa Bl" pitchFamily="2" charset="0"/>
                <a:cs typeface="GT Flexa Bl" pitchFamily="2" charset="0"/>
              </a:defRPr>
            </a:lvl1pPr>
          </a:lstStyle>
          <a:p>
            <a:pPr lvl="0"/>
            <a:r>
              <a:rPr lang="en-US" dirty="0"/>
              <a:t>Subtitle, Segoe UI, 12p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7EFB9F6-5AEB-4EF1-B28C-A7BCCA8417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1832971"/>
            <a:ext cx="3919060" cy="2539005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6539264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full si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58230CB-E2F4-40C5-9C78-3586D0387A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1074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58230CB-E2F4-40C5-9C78-3586D0387A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92061ABB-95F0-4F98-908C-BBEE7A944E8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5088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36972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, 3:9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2CD0F60-54F1-4706-9782-ECB2DFD903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4940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2CD0F60-54F1-4706-9782-ECB2DFD903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8FF86CBD-3364-4092-8856-8EC6D722C10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accent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797882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, 9: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C1BA4EA-FFD8-48F8-8F25-E109FBD246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396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C1BA4EA-FFD8-48F8-8F25-E109FBD246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92061ABB-95F0-4F98-908C-BBEE7A944E8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6667500" cy="5145088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2420" y="303212"/>
            <a:ext cx="5641180" cy="615553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0EBA6552-EDE0-43A1-872A-5D55F492E50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667500" y="0"/>
            <a:ext cx="2476500" cy="5145088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38181369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+ margin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ED29FA0-F976-4260-84A2-6CE203644F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9217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ED29FA0-F976-4260-84A2-6CE203644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0B63E13F-EA80-4906-83BE-4F928DDD7D2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6668306" cy="5145088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27E887E9-8CA6-4D4B-A36A-AC353E536CE1}"/>
              </a:ext>
            </a:extLst>
          </p:cNvPr>
          <p:cNvSpPr/>
          <p:nvPr userDrawn="1"/>
        </p:nvSpPr>
        <p:spPr bwMode="gray">
          <a:xfrm>
            <a:off x="6668306" y="0"/>
            <a:ext cx="2475694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5641180" cy="615553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82EFB41-8EA9-455E-8500-4970A8B8DB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71912" y="275904"/>
            <a:ext cx="1868876" cy="188321"/>
          </a:xfrm>
        </p:spPr>
        <p:txBody>
          <a:bodyPr>
            <a:noAutofit/>
          </a:bodyPr>
          <a:lstStyle>
            <a:lvl1pPr marL="0" indent="0" rtl="0">
              <a:buClr>
                <a:schemeClr val="bg1"/>
              </a:buClr>
              <a:buNone/>
              <a:defRPr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, Segoe UI, 12p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9DD6B41F-29EB-4B6E-8D5E-4D58DDEE97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72299" y="642938"/>
            <a:ext cx="1870075" cy="3729038"/>
          </a:xfrm>
        </p:spPr>
        <p:txBody>
          <a:bodyPr/>
          <a:lstStyle>
            <a:lvl1pPr marL="162000" indent="-162000" rtl="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marL="1296000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7" name="Grafik 8">
            <a:extLst>
              <a:ext uri="{FF2B5EF4-FFF2-40B4-BE49-F238E27FC236}">
                <a16:creationId xmlns:a16="http://schemas.microsoft.com/office/drawing/2014/main" id="{F64AAAB0-FA74-4B39-A2A7-034416132C8D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5578459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s +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E3FC7EB-ADE5-443B-9A42-367A15378C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0238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0E3FC7EB-ADE5-443B-9A42-367A15378C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2420" y="303212"/>
            <a:ext cx="5641180" cy="61555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7859EA-314D-49E2-A15A-FC28AC31BC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9007340-05A2-41EA-A606-71FD79D2BC7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0038" y="1492250"/>
            <a:ext cx="5641180" cy="398827"/>
          </a:xfrm>
        </p:spPr>
        <p:txBody>
          <a:bodyPr>
            <a:noAutofit/>
          </a:bodyPr>
          <a:lstStyle>
            <a:lvl1pPr marL="0" indent="0" rtl="0">
              <a:buNone/>
              <a:defRPr b="1">
                <a:solidFill>
                  <a:schemeClr val="accent1"/>
                </a:solidFill>
                <a:latin typeface="+mj-lt"/>
                <a:ea typeface="GT Flexa Bl" pitchFamily="2" charset="0"/>
                <a:cs typeface="GT Flexa Bl" pitchFamily="2" charset="0"/>
              </a:defRPr>
            </a:lvl1pPr>
          </a:lstStyle>
          <a:p>
            <a:pPr lvl="0"/>
            <a:r>
              <a:rPr lang="en-US" dirty="0"/>
              <a:t>Subtitle, Segoe UI, 12p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7EFB9F6-5AEB-4EF1-B28C-A7BCCA8417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040340"/>
            <a:ext cx="2743200" cy="2331636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/>
            </a:lvl1pPr>
            <a:lvl2pPr algn="l"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A6A4363-F616-4407-B686-AA221CB705E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19900" y="0"/>
            <a:ext cx="2324100" cy="342900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457BE55-A82C-43C5-BC22-EC149179F2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95638" y="2040339"/>
            <a:ext cx="2743200" cy="2331635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B4AD7E66-3095-412B-BE5D-B315C13255B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819900" y="3429000"/>
            <a:ext cx="2324100" cy="1716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402155271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 + diagra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3AC4753-D114-477D-A7FB-1390A2494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5486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3AC4753-D114-477D-A7FB-1390A2494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2DFC6AEF-AFA5-48E1-B0A3-DACBC3757E16}"/>
              </a:ext>
            </a:extLst>
          </p:cNvPr>
          <p:cNvSpPr/>
          <p:nvPr userDrawn="1"/>
        </p:nvSpPr>
        <p:spPr>
          <a:xfrm>
            <a:off x="4572001" y="0"/>
            <a:ext cx="4572000" cy="5145088"/>
          </a:xfrm>
          <a:prstGeom prst="rect">
            <a:avLst/>
          </a:prstGeom>
          <a:solidFill>
            <a:srgbClr val="FA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2420" y="303212"/>
            <a:ext cx="4194968" cy="61555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7859EA-314D-49E2-A15A-FC28AC31BC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9007340-05A2-41EA-A606-71FD79D2BC7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0038" y="1492250"/>
            <a:ext cx="4194968" cy="398827"/>
          </a:xfrm>
        </p:spPr>
        <p:txBody>
          <a:bodyPr>
            <a:noAutofit/>
          </a:bodyPr>
          <a:lstStyle>
            <a:lvl1pPr marL="0" indent="0" rtl="0">
              <a:buNone/>
              <a:defRPr b="1">
                <a:solidFill>
                  <a:schemeClr val="accent1"/>
                </a:solidFill>
                <a:latin typeface="+mj-lt"/>
                <a:ea typeface="GT Flexa Bl" pitchFamily="2" charset="0"/>
                <a:cs typeface="GT Flexa Bl" pitchFamily="2" charset="0"/>
              </a:defRPr>
            </a:lvl1pPr>
          </a:lstStyle>
          <a:p>
            <a:pPr lvl="0"/>
            <a:r>
              <a:rPr lang="en-US" dirty="0"/>
              <a:t>Subtitle, Segoe UI, 12p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7EFB9F6-5AEB-4EF1-B28C-A7BCCA8417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040340"/>
            <a:ext cx="4194968" cy="2331636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/>
            </a:lvl1pPr>
            <a:lvl2pPr algn="l"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54E4E41-C1A8-4AFE-89E9-54339DC330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91101" y="306387"/>
            <a:ext cx="3851274" cy="188321"/>
          </a:xfrm>
        </p:spPr>
        <p:txBody>
          <a:bodyPr>
            <a:noAutofit/>
          </a:bodyPr>
          <a:lstStyle>
            <a:lvl1pPr marL="0" indent="0" rtl="0">
              <a:buNone/>
              <a:defRPr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Diagram title, Segoe UI, 12pt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F44D4C68-FDFC-4FE6-A3A0-24378231ACB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91101" y="652858"/>
            <a:ext cx="3851274" cy="265907"/>
          </a:xfrm>
        </p:spPr>
        <p:txBody>
          <a:bodyPr>
            <a:noAutofit/>
          </a:bodyPr>
          <a:lstStyle>
            <a:lvl1pPr marL="0" indent="0" rtl="0">
              <a:buNone/>
              <a:defRPr sz="800"/>
            </a:lvl1pPr>
          </a:lstStyle>
          <a:p>
            <a:pPr lvl="0"/>
            <a:r>
              <a:rPr lang="en-US" dirty="0"/>
              <a:t>Description Diagram, Segoe UI, 8pt</a:t>
            </a:r>
          </a:p>
        </p:txBody>
      </p:sp>
      <p:sp>
        <p:nvSpPr>
          <p:cNvPr id="15" name="Diagrammplatzhalter 14">
            <a:extLst>
              <a:ext uri="{FF2B5EF4-FFF2-40B4-BE49-F238E27FC236}">
                <a16:creationId xmlns:a16="http://schemas.microsoft.com/office/drawing/2014/main" id="{20B37BD7-45FF-41A0-AB59-B76A319E6D94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4991100" y="1076916"/>
            <a:ext cx="3851273" cy="3295060"/>
          </a:xfrm>
        </p:spPr>
        <p:txBody>
          <a:bodyPr/>
          <a:lstStyle>
            <a:lvl1pPr marL="0" indent="0" rtl="0">
              <a:buNone/>
              <a:defRPr sz="800"/>
            </a:lvl1pPr>
          </a:lstStyle>
          <a:p>
            <a:r>
              <a:rPr lang="en-US" dirty="0"/>
              <a:t>Create diagram by clicking on the icon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13D4DFC2-F6C7-49FF-AB28-76635678DC07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9075132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Dia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F165371-590F-40AB-9425-F5684413E1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4118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F165371-590F-40AB-9425-F5684413E1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618DC39-80CC-4F5E-8FB8-24DAE4535F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47A86BD-6A47-4B6A-BA1B-DCCC0C012F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B879D3C-EBE0-4AE4-8301-1247E1CF7D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Diagrammplatzhalter 5">
            <a:extLst>
              <a:ext uri="{FF2B5EF4-FFF2-40B4-BE49-F238E27FC236}">
                <a16:creationId xmlns:a16="http://schemas.microsoft.com/office/drawing/2014/main" id="{518B60FF-2FC8-470D-A7A3-EC2AD45DA3B1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 bwMode="gray">
          <a:xfrm>
            <a:off x="300038" y="1492250"/>
            <a:ext cx="2743200" cy="2879725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Create diagram by clicking on the icon</a:t>
            </a:r>
          </a:p>
        </p:txBody>
      </p:sp>
      <p:sp>
        <p:nvSpPr>
          <p:cNvPr id="8" name="Diagrammplatzhalter 7">
            <a:extLst>
              <a:ext uri="{FF2B5EF4-FFF2-40B4-BE49-F238E27FC236}">
                <a16:creationId xmlns:a16="http://schemas.microsoft.com/office/drawing/2014/main" id="{F3C30865-6727-4E30-BE8D-6E3CE051C0A7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 bwMode="gray">
          <a:xfrm>
            <a:off x="3195638" y="1492250"/>
            <a:ext cx="2743200" cy="2879725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Create diagram by clicking on the icon</a:t>
            </a:r>
          </a:p>
        </p:txBody>
      </p:sp>
      <p:sp>
        <p:nvSpPr>
          <p:cNvPr id="10" name="Diagrammplatzhalter 9">
            <a:extLst>
              <a:ext uri="{FF2B5EF4-FFF2-40B4-BE49-F238E27FC236}">
                <a16:creationId xmlns:a16="http://schemas.microsoft.com/office/drawing/2014/main" id="{0A7EB19F-EEBD-412C-AC27-DD00650D0913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 bwMode="gray">
          <a:xfrm>
            <a:off x="6100763" y="1492250"/>
            <a:ext cx="2743200" cy="2879725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Create diagram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27017128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8CB916D-D210-4BC5-AA19-30E94CD9E5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63299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8CB916D-D210-4BC5-AA19-30E94CD9E5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0CFC28F-EC47-4DDB-8C5D-03309FB396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5EFA14A-D6E7-47FF-924E-E4CB9098037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30A9710-C66C-461A-BEF7-CAD1B717F3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abellenplatzhalter 5">
            <a:extLst>
              <a:ext uri="{FF2B5EF4-FFF2-40B4-BE49-F238E27FC236}">
                <a16:creationId xmlns:a16="http://schemas.microsoft.com/office/drawing/2014/main" id="{B7A2A10A-2613-4F52-86A9-C634AD0C4E6E}"/>
              </a:ext>
            </a:extLst>
          </p:cNvPr>
          <p:cNvSpPr>
            <a:spLocks noGrp="1"/>
          </p:cNvSpPr>
          <p:nvPr>
            <p:ph type="tbl" sz="quarter" idx="12" hasCustomPrompt="1"/>
          </p:nvPr>
        </p:nvSpPr>
        <p:spPr>
          <a:xfrm>
            <a:off x="300038" y="1492250"/>
            <a:ext cx="8542337" cy="2879725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Create tab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315115958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C17D092-076B-4C8E-ACAE-CBD429D296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9164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C17D092-076B-4C8E-ACAE-CBD429D296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2DFC6AEF-AFA5-48E1-B0A3-DACBC3757E16}"/>
              </a:ext>
            </a:extLst>
          </p:cNvPr>
          <p:cNvSpPr/>
          <p:nvPr userDrawn="1"/>
        </p:nvSpPr>
        <p:spPr>
          <a:xfrm>
            <a:off x="4572001" y="0"/>
            <a:ext cx="4572000" cy="5145088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2420" y="303212"/>
            <a:ext cx="4194968" cy="61555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7859EA-314D-49E2-A15A-FC28AC31BC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9007340-05A2-41EA-A606-71FD79D2BC7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0038" y="1492250"/>
            <a:ext cx="4194968" cy="398827"/>
          </a:xfrm>
        </p:spPr>
        <p:txBody>
          <a:bodyPr>
            <a:noAutofit/>
          </a:bodyPr>
          <a:lstStyle>
            <a:lvl1pPr marL="0" indent="0" rtl="0">
              <a:buNone/>
              <a:defRPr b="1">
                <a:solidFill>
                  <a:schemeClr val="accent1"/>
                </a:solidFill>
                <a:latin typeface="+mj-lt"/>
                <a:ea typeface="GT Flexa Bl" pitchFamily="2" charset="0"/>
                <a:cs typeface="GT Flexa Bl" pitchFamily="2" charset="0"/>
              </a:defRPr>
            </a:lvl1pPr>
          </a:lstStyle>
          <a:p>
            <a:pPr lvl="0"/>
            <a:r>
              <a:rPr lang="en-US" dirty="0"/>
              <a:t>Subtitle, Segoe UI, 12p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7EFB9F6-5AEB-4EF1-B28C-A7BCCA8417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040340"/>
            <a:ext cx="4194968" cy="2331636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/>
            </a:lvl1pPr>
            <a:lvl2pPr algn="l"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Grafik 8">
            <a:extLst>
              <a:ext uri="{FF2B5EF4-FFF2-40B4-BE49-F238E27FC236}">
                <a16:creationId xmlns:a16="http://schemas.microsoft.com/office/drawing/2014/main" id="{7559CB0D-6B98-425D-BF5E-BB01C79AC836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3170001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C17D092-076B-4C8E-ACAE-CBD429D296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34087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C17D092-076B-4C8E-ACAE-CBD429D296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2DFC6AEF-AFA5-48E1-B0A3-DACBC3757E16}"/>
              </a:ext>
            </a:extLst>
          </p:cNvPr>
          <p:cNvSpPr/>
          <p:nvPr userDrawn="1"/>
        </p:nvSpPr>
        <p:spPr>
          <a:xfrm>
            <a:off x="0" y="0"/>
            <a:ext cx="9144001" cy="5145088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2419" y="303212"/>
            <a:ext cx="8539955" cy="61555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Slide Title, Segoe UI, 24pt, Max. 2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7859EA-314D-49E2-A15A-FC28AC31BC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Grafik 8">
            <a:extLst>
              <a:ext uri="{FF2B5EF4-FFF2-40B4-BE49-F238E27FC236}">
                <a16:creationId xmlns:a16="http://schemas.microsoft.com/office/drawing/2014/main" id="{39CB7AFC-62B1-4A25-AE97-E2B9062BF220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1867438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 + margin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ED29FA0-F976-4260-84A2-6CE203644F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87822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ED29FA0-F976-4260-84A2-6CE203644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>
            <a:extLst>
              <a:ext uri="{FF2B5EF4-FFF2-40B4-BE49-F238E27FC236}">
                <a16:creationId xmlns:a16="http://schemas.microsoft.com/office/drawing/2014/main" id="{FEAF814B-61FB-4BA3-A28A-7985FCA4803E}"/>
              </a:ext>
            </a:extLst>
          </p:cNvPr>
          <p:cNvSpPr/>
          <p:nvPr userDrawn="1"/>
        </p:nvSpPr>
        <p:spPr>
          <a:xfrm>
            <a:off x="0" y="0"/>
            <a:ext cx="9144001" cy="5145088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27E887E9-8CA6-4D4B-A36A-AC353E536CE1}"/>
              </a:ext>
            </a:extLst>
          </p:cNvPr>
          <p:cNvSpPr/>
          <p:nvPr userDrawn="1"/>
        </p:nvSpPr>
        <p:spPr bwMode="gray">
          <a:xfrm>
            <a:off x="6819900" y="0"/>
            <a:ext cx="23241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5641180" cy="615553"/>
          </a:xfrm>
        </p:spPr>
        <p:txBody>
          <a:bodyPr vert="horz"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Grafik 8">
            <a:extLst>
              <a:ext uri="{FF2B5EF4-FFF2-40B4-BE49-F238E27FC236}">
                <a16:creationId xmlns:a16="http://schemas.microsoft.com/office/drawing/2014/main" id="{F64AAAB0-FA74-4B39-A2A7-034416132C8D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9F6167EC-44E4-4CBB-914D-65AC12E79F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82EFB41-8EA9-455E-8500-4970A8B8DB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7057696" y="275904"/>
            <a:ext cx="1783333" cy="156902"/>
          </a:xfrm>
        </p:spPr>
        <p:txBody>
          <a:bodyPr>
            <a:noAutofit/>
          </a:bodyPr>
          <a:lstStyle>
            <a:lvl1pPr marL="0" indent="0" rtl="0">
              <a:buClr>
                <a:schemeClr val="bg1"/>
              </a:buClr>
              <a:buNone/>
              <a:defRPr sz="10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, Segoe UI, 10p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9DD6B41F-29EB-4B6E-8D5E-4D58DDEE97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57103" y="585788"/>
            <a:ext cx="1784477" cy="3786188"/>
          </a:xfrm>
        </p:spPr>
        <p:txBody>
          <a:bodyPr/>
          <a:lstStyle>
            <a:lvl1pPr marL="162000" indent="-162000" rtl="0">
              <a:buClr>
                <a:schemeClr val="bg1"/>
              </a:buClr>
              <a:buFont typeface="Wingdings" panose="05000000000000000000" pitchFamily="2" charset="2"/>
              <a:buChar char="§"/>
              <a:defRPr sz="1000"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 sz="1000"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 sz="1000">
                <a:solidFill>
                  <a:schemeClr val="bg1"/>
                </a:solidFill>
              </a:defRPr>
            </a:lvl3pPr>
            <a:lvl4pPr marL="1296000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evel, Segoe UI, 10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7036913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+ f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7C0F9577-92F1-475C-BAC8-4DAA145E77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827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7C0F9577-92F1-475C-BAC8-4DAA145E77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>
            <a:extLst>
              <a:ext uri="{FF2B5EF4-FFF2-40B4-BE49-F238E27FC236}">
                <a16:creationId xmlns:a16="http://schemas.microsoft.com/office/drawing/2014/main" id="{30D59A4B-5427-4613-A316-5C5C738B1B49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3E177734-E4F2-4A8B-8528-BFC692A7991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268986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AE4D0E1-24BE-4A9F-9B0C-319E32F754E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2689860" y="0"/>
            <a:ext cx="268986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4" name="Grafik 8">
            <a:extLst>
              <a:ext uri="{FF2B5EF4-FFF2-40B4-BE49-F238E27FC236}">
                <a16:creationId xmlns:a16="http://schemas.microsoft.com/office/drawing/2014/main" id="{179908B5-EFBF-44AE-B5F4-6524DE4D1D24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FAAA1064-7CA0-4E22-9F40-41A638ADFDB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684837" y="298450"/>
            <a:ext cx="3157537" cy="156902"/>
          </a:xfrm>
        </p:spPr>
        <p:txBody>
          <a:bodyPr>
            <a:noAutofit/>
          </a:bodyPr>
          <a:lstStyle>
            <a:lvl1pPr marL="0" indent="0" rtl="0">
              <a:buNone/>
              <a:defRPr sz="1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opic, Segoe UI, 10pt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E6E806F-FE68-4081-AE5C-2EB33C38C4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684838" y="487045"/>
            <a:ext cx="3157538" cy="3884930"/>
          </a:xfrm>
        </p:spPr>
        <p:txBody>
          <a:bodyPr/>
          <a:lstStyle>
            <a:lvl1pPr marL="0" indent="0" rtl="0">
              <a:lnSpc>
                <a:spcPts val="5200"/>
              </a:lnSpc>
              <a:buNone/>
              <a:defRPr sz="52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m Or Numbe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240EF66-897B-4BCE-8D84-2CEB6D04C65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52555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2DB44EF-00C9-40A1-81CF-7324F4B990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0422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2DB44EF-00C9-40A1-81CF-7324F4B990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accent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603382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+ f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E891FA5F-078F-4117-A495-CF038903B8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77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E891FA5F-078F-4117-A495-CF038903B8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>
            <a:extLst>
              <a:ext uri="{FF2B5EF4-FFF2-40B4-BE49-F238E27FC236}">
                <a16:creationId xmlns:a16="http://schemas.microsoft.com/office/drawing/2014/main" id="{7969D756-CEC2-4FF9-80B5-C0874EA7AC56}"/>
              </a:ext>
            </a:extLst>
          </p:cNvPr>
          <p:cNvSpPr/>
          <p:nvPr userDrawn="1"/>
        </p:nvSpPr>
        <p:spPr bwMode="gray">
          <a:xfrm>
            <a:off x="300039" y="2286000"/>
            <a:ext cx="2019299" cy="20859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DA71EEB-5E99-46AD-A947-C6E176BC18E0}"/>
              </a:ext>
            </a:extLst>
          </p:cNvPr>
          <p:cNvSpPr/>
          <p:nvPr userDrawn="1"/>
        </p:nvSpPr>
        <p:spPr bwMode="gray">
          <a:xfrm>
            <a:off x="2319337" y="298448"/>
            <a:ext cx="3052763" cy="157129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95F812-C8DA-4443-B6FB-3D0F7B0BA0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EE2CAEF-25CC-4015-9DE2-7AE7C2A71D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996F566D-2A4A-4013-AA0B-632F665A661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300038" y="298449"/>
            <a:ext cx="2019298" cy="1987551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69F2D387-9A87-4B98-80C0-8CD6B9184D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2319338" y="1869743"/>
            <a:ext cx="3052762" cy="2502232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20D74127-2F9F-4278-A92B-109CD06EFE7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5372100" y="298449"/>
            <a:ext cx="3470275" cy="4073525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44EBAAAC-9B94-4A0A-859E-57BC1C5229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51882" y="2437606"/>
            <a:ext cx="1715612" cy="156902"/>
          </a:xfrm>
        </p:spPr>
        <p:txBody>
          <a:bodyPr>
            <a:noAutofit/>
          </a:bodyPr>
          <a:lstStyle>
            <a:lvl1pPr marL="0" indent="0" rtl="0">
              <a:buNone/>
              <a:defRPr sz="10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Headline, 10pt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4CF401C-DE73-4E05-B8D1-DB50DE944C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51882" y="2741616"/>
            <a:ext cx="1715612" cy="1506534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 sz="1000"/>
            </a:lvl1pPr>
            <a:lvl2pPr rtl="0">
              <a:defRPr sz="1000"/>
            </a:lvl2pPr>
          </a:lstStyle>
          <a:p>
            <a:pPr lvl="0"/>
            <a:r>
              <a:rPr lang="en-US" dirty="0"/>
              <a:t>First Level, Segoe UI, 10pt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CE3EC1BC-B6DD-43BD-AD6F-A77313948A2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601872" y="571134"/>
            <a:ext cx="2487693" cy="1025922"/>
          </a:xfrm>
        </p:spPr>
        <p:txBody>
          <a:bodyPr anchor="ctr">
            <a:noAutofit/>
          </a:bodyPr>
          <a:lstStyle>
            <a:lvl1pPr marL="0" indent="0" rtl="0">
              <a:lnSpc>
                <a:spcPts val="4000"/>
              </a:lnSpc>
              <a:buNone/>
              <a:defRPr sz="4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m/ Number</a:t>
            </a:r>
          </a:p>
        </p:txBody>
      </p:sp>
    </p:spTree>
    <p:extLst>
      <p:ext uri="{BB962C8B-B14F-4D97-AF65-F5344CB8AC3E}">
        <p14:creationId xmlns:p14="http://schemas.microsoft.com/office/powerpoint/2010/main" val="134051064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+ 3 textboxes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22DC763-7C98-4BF7-8076-872F267E18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0042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A22DC763-7C98-4BF7-8076-872F267E18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EDA71EEB-5E99-46AD-A947-C6E176BC18E0}"/>
              </a:ext>
            </a:extLst>
          </p:cNvPr>
          <p:cNvSpPr>
            <a:spLocks/>
          </p:cNvSpPr>
          <p:nvPr userDrawn="1"/>
        </p:nvSpPr>
        <p:spPr>
          <a:xfrm>
            <a:off x="3145805" y="1151887"/>
            <a:ext cx="2847600" cy="152272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84D0BC2-2BEA-4984-8BCC-B42A4DD96ABE}"/>
              </a:ext>
            </a:extLst>
          </p:cNvPr>
          <p:cNvSpPr>
            <a:spLocks/>
          </p:cNvSpPr>
          <p:nvPr userDrawn="1"/>
        </p:nvSpPr>
        <p:spPr>
          <a:xfrm>
            <a:off x="5991579" y="2849246"/>
            <a:ext cx="2850796" cy="152273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7969D756-CEC2-4FF9-80B5-C0874EA7AC56}"/>
              </a:ext>
            </a:extLst>
          </p:cNvPr>
          <p:cNvSpPr>
            <a:spLocks/>
          </p:cNvSpPr>
          <p:nvPr userDrawn="1"/>
        </p:nvSpPr>
        <p:spPr>
          <a:xfrm>
            <a:off x="300038" y="2849244"/>
            <a:ext cx="2845769" cy="152273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95F812-C8DA-4443-B6FB-3D0F7B0BA0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EE2CAEF-25CC-4015-9DE2-7AE7C2A71D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996F566D-2A4A-4013-AA0B-632F665A661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00037" y="1151887"/>
            <a:ext cx="2845770" cy="1697354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69F2D387-9A87-4B98-80C0-8CD6B9184D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145805" y="2674620"/>
            <a:ext cx="2847600" cy="1697354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20D74127-2F9F-4278-A92B-109CD06EFE7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992813" y="1151887"/>
            <a:ext cx="2849562" cy="1697354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4CF401C-DE73-4E05-B8D1-DB50DE944C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2129" y="3070224"/>
            <a:ext cx="2281590" cy="1106845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 sz="1200"/>
            </a:lvl1pPr>
            <a:lvl2pPr rtl="0">
              <a:defRPr sz="1200"/>
            </a:lvl2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5F00088E-BD27-4075-9D51-FDAB7868F9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27746" y="1372866"/>
            <a:ext cx="2281896" cy="1107657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 sz="1200"/>
            </a:lvl1pPr>
            <a:lvl2pPr rtl="0">
              <a:defRPr sz="12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95A11F8-0E42-4080-B86D-63341C6F3C2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73516" y="3070226"/>
            <a:ext cx="2281896" cy="1108868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 sz="1200"/>
            </a:lvl1pPr>
            <a:lvl2pPr rtl="0">
              <a:defRPr sz="12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6D664C7-0545-4A14-9DCB-BE8E2F6930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</p:spTree>
    <p:extLst>
      <p:ext uri="{BB962C8B-B14F-4D97-AF65-F5344CB8AC3E}">
        <p14:creationId xmlns:p14="http://schemas.microsoft.com/office/powerpoint/2010/main" val="125488509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+ 2 textboxes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6BEC144-9259-411C-8919-2BAF1C6F11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7761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6BEC144-9259-411C-8919-2BAF1C6F11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EDA71EEB-5E99-46AD-A947-C6E176BC18E0}"/>
              </a:ext>
            </a:extLst>
          </p:cNvPr>
          <p:cNvSpPr>
            <a:spLocks/>
          </p:cNvSpPr>
          <p:nvPr userDrawn="1"/>
        </p:nvSpPr>
        <p:spPr>
          <a:xfrm>
            <a:off x="4577746" y="1151887"/>
            <a:ext cx="4264629" cy="151273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7969D756-CEC2-4FF9-80B5-C0874EA7AC56}"/>
              </a:ext>
            </a:extLst>
          </p:cNvPr>
          <p:cNvSpPr>
            <a:spLocks/>
          </p:cNvSpPr>
          <p:nvPr userDrawn="1"/>
        </p:nvSpPr>
        <p:spPr>
          <a:xfrm>
            <a:off x="300039" y="2858284"/>
            <a:ext cx="4277707" cy="151369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95F812-C8DA-4443-B6FB-3D0F7B0BA0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EE2CAEF-25CC-4015-9DE2-7AE7C2A71D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996F566D-2A4A-4013-AA0B-632F665A661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00036" y="1151884"/>
            <a:ext cx="4277710" cy="1706400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69F2D387-9A87-4B98-80C0-8CD6B9184D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577746" y="2664619"/>
            <a:ext cx="4264629" cy="1707355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4CF401C-DE73-4E05-B8D1-DB50DE944C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2128" y="3086884"/>
            <a:ext cx="3707066" cy="1048947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 sz="1200"/>
            </a:lvl1pPr>
            <a:lvl2pPr rtl="0">
              <a:defRPr sz="1200"/>
            </a:lvl2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5F00088E-BD27-4075-9D51-FDAB7868F9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51034" y="1380487"/>
            <a:ext cx="3708000" cy="1048388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 sz="1200"/>
            </a:lvl1pPr>
            <a:lvl2pPr rtl="0">
              <a:defRPr sz="12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E947B689-263C-46D8-BD1A-F32003D467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</p:spTree>
    <p:extLst>
      <p:ext uri="{BB962C8B-B14F-4D97-AF65-F5344CB8AC3E}">
        <p14:creationId xmlns:p14="http://schemas.microsoft.com/office/powerpoint/2010/main" val="101212604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+ 3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22DC763-7C98-4BF7-8076-872F267E18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1775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A22DC763-7C98-4BF7-8076-872F267E18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EDA71EEB-5E99-46AD-A947-C6E176BC18E0}"/>
              </a:ext>
            </a:extLst>
          </p:cNvPr>
          <p:cNvSpPr>
            <a:spLocks/>
          </p:cNvSpPr>
          <p:nvPr userDrawn="1"/>
        </p:nvSpPr>
        <p:spPr>
          <a:xfrm>
            <a:off x="3145805" y="298447"/>
            <a:ext cx="2847600" cy="191931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84D0BC2-2BEA-4984-8BCC-B42A4DD96ABE}"/>
              </a:ext>
            </a:extLst>
          </p:cNvPr>
          <p:cNvSpPr>
            <a:spLocks/>
          </p:cNvSpPr>
          <p:nvPr userDrawn="1"/>
        </p:nvSpPr>
        <p:spPr>
          <a:xfrm>
            <a:off x="5991579" y="2490716"/>
            <a:ext cx="2850796" cy="188125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7969D756-CEC2-4FF9-80B5-C0874EA7AC56}"/>
              </a:ext>
            </a:extLst>
          </p:cNvPr>
          <p:cNvSpPr>
            <a:spLocks/>
          </p:cNvSpPr>
          <p:nvPr userDrawn="1"/>
        </p:nvSpPr>
        <p:spPr>
          <a:xfrm>
            <a:off x="300038" y="2490716"/>
            <a:ext cx="2845769" cy="188125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95F812-C8DA-4443-B6FB-3D0F7B0BA0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EE2CAEF-25CC-4015-9DE2-7AE7C2A71D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996F566D-2A4A-4013-AA0B-632F665A661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00037" y="298449"/>
            <a:ext cx="2845770" cy="2192267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69F2D387-9A87-4B98-80C0-8CD6B9184D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145805" y="2217759"/>
            <a:ext cx="2847600" cy="2154215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20D74127-2F9F-4278-A92B-109CD06EFE7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992813" y="298450"/>
            <a:ext cx="2849562" cy="2192267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44EBAAAC-9B94-4A0A-859E-57BC1C5229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2130" y="2717054"/>
            <a:ext cx="2281590" cy="498598"/>
          </a:xfrm>
        </p:spPr>
        <p:txBody>
          <a:bodyPr>
            <a:noAutofit/>
          </a:bodyPr>
          <a:lstStyle>
            <a:lvl1pPr marL="0" indent="0" rtl="0">
              <a:lnSpc>
                <a:spcPct val="90000"/>
              </a:lnSpc>
              <a:buNone/>
              <a:defRPr sz="18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Headline, Segoe UI, 18pt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4CF401C-DE73-4E05-B8D1-DB50DE944C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2129" y="3302000"/>
            <a:ext cx="2281590" cy="784225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 sz="1000"/>
            </a:lvl1pPr>
            <a:lvl2pPr rtl="0">
              <a:defRPr sz="1000"/>
            </a:lvl2pPr>
          </a:lstStyle>
          <a:p>
            <a:pPr lvl="0"/>
            <a:r>
              <a:rPr lang="en-US" dirty="0"/>
              <a:t>First Level, Segoe UI, 10pt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0F7FBCD-4838-4858-9B02-5770B636AC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27746" y="552096"/>
            <a:ext cx="2281896" cy="500400"/>
          </a:xfrm>
        </p:spPr>
        <p:txBody>
          <a:bodyPr/>
          <a:lstStyle>
            <a:lvl1pPr marL="0" indent="0" rtl="0">
              <a:lnSpc>
                <a:spcPct val="90000"/>
              </a:lnSpc>
              <a:buNone/>
              <a:defRPr sz="18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Headline, Segoe UI, 18pt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5F00088E-BD27-4075-9D51-FDAB7868F9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27746" y="1124390"/>
            <a:ext cx="2281896" cy="784800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 sz="1000"/>
            </a:lvl1pPr>
            <a:lvl2pPr rtl="0"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First Level, Segoe UI, 10pt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34410347-E07E-4B83-8D69-8A994CBA34B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3516" y="2717054"/>
            <a:ext cx="2281896" cy="500400"/>
          </a:xfrm>
        </p:spPr>
        <p:txBody>
          <a:bodyPr/>
          <a:lstStyle>
            <a:lvl1pPr marL="0" indent="0" rtl="0">
              <a:lnSpc>
                <a:spcPct val="90000"/>
              </a:lnSpc>
              <a:buNone/>
              <a:defRPr sz="18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Headline, Segoe UI, 18pt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95A11F8-0E42-4080-B86D-63341C6F3C2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73516" y="3300567"/>
            <a:ext cx="2281896" cy="785658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 sz="1000"/>
            </a:lvl1pPr>
            <a:lvl2pPr rtl="0"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First Level, Segoe UI, 10pt 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5967012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+ 2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6BEC144-9259-411C-8919-2BAF1C6F11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4905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6BEC144-9259-411C-8919-2BAF1C6F11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EDA71EEB-5E99-46AD-A947-C6E176BC18E0}"/>
              </a:ext>
            </a:extLst>
          </p:cNvPr>
          <p:cNvSpPr>
            <a:spLocks/>
          </p:cNvSpPr>
          <p:nvPr userDrawn="1"/>
        </p:nvSpPr>
        <p:spPr>
          <a:xfrm>
            <a:off x="4577746" y="298447"/>
            <a:ext cx="4264629" cy="18335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7969D756-CEC2-4FF9-80B5-C0874EA7AC56}"/>
              </a:ext>
            </a:extLst>
          </p:cNvPr>
          <p:cNvSpPr>
            <a:spLocks/>
          </p:cNvSpPr>
          <p:nvPr userDrawn="1"/>
        </p:nvSpPr>
        <p:spPr>
          <a:xfrm>
            <a:off x="300039" y="2538414"/>
            <a:ext cx="4277707" cy="18335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95F812-C8DA-4443-B6FB-3D0F7B0BA0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EE2CAEF-25CC-4015-9DE2-7AE7C2A71D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996F566D-2A4A-4013-AA0B-632F665A661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00036" y="298449"/>
            <a:ext cx="4277710" cy="2239965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69F2D387-9A87-4B98-80C0-8CD6B9184D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577746" y="2132009"/>
            <a:ext cx="4264629" cy="2239965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44EBAAAC-9B94-4A0A-859E-57BC1C5229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2128" y="2807547"/>
            <a:ext cx="3707066" cy="249299"/>
          </a:xfrm>
        </p:spPr>
        <p:txBody>
          <a:bodyPr>
            <a:noAutofit/>
          </a:bodyPr>
          <a:lstStyle>
            <a:lvl1pPr marL="0" indent="0" rtl="0">
              <a:lnSpc>
                <a:spcPct val="90000"/>
              </a:lnSpc>
              <a:buNone/>
              <a:defRPr sz="18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Headline, Segoe UI, 18pt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4CF401C-DE73-4E05-B8D1-DB50DE944C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2128" y="3154368"/>
            <a:ext cx="3707066" cy="950907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 sz="1000"/>
            </a:lvl1pPr>
            <a:lvl2pPr rtl="0">
              <a:defRPr sz="1000"/>
            </a:lvl2pPr>
          </a:lstStyle>
          <a:p>
            <a:pPr lvl="0"/>
            <a:r>
              <a:rPr lang="en-US" dirty="0"/>
              <a:t>First Level, Segoe UI, 10pt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0F7FBCD-4838-4858-9B02-5770B636AC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51034" y="606687"/>
            <a:ext cx="3708000" cy="249299"/>
          </a:xfrm>
        </p:spPr>
        <p:txBody>
          <a:bodyPr>
            <a:noAutofit/>
          </a:bodyPr>
          <a:lstStyle>
            <a:lvl1pPr marL="0" indent="0" rtl="0">
              <a:lnSpc>
                <a:spcPct val="90000"/>
              </a:lnSpc>
              <a:buNone/>
              <a:defRPr sz="18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Headline, Segoe UI, 18pt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5F00088E-BD27-4075-9D51-FDAB7868F9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51034" y="943794"/>
            <a:ext cx="3708000" cy="950400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 sz="1000"/>
            </a:lvl1pPr>
            <a:lvl2pPr rtl="0"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First Level, Segoe UI, 10pt 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1357613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1718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3729120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re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2266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5619" cy="1538883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58167987-BC69-4A2B-82A3-6F7D3BE6823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236684041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4589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7157219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8293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341333979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2632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96050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768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3B413B13-55F7-41C0-B98C-8841607428B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3E68A076-ECA3-4C3F-8ACE-FCDA132B0E2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46292652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14823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364328991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1475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DED7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411227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5499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DED7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62801743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0105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1756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rgbClr val="F6E67D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6287896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6287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1756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rgbClr val="F6E67D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58142204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8707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F6E6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rgbClr val="17564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6949234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8143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F6E6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rgbClr val="17564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86251459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33919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3180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rgbClr val="DFEBC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6673834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49104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3180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rgbClr val="DFEBC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239750462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6775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DFEB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rgbClr val="318096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113423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7560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476817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08433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DFEB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rgbClr val="318096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4656826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4463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8719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rgbClr val="F4C59E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6044491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62393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8719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rgbClr val="F4C59E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55078600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557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F4C5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rgbClr val="871964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8592619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2466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F4C5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rgbClr val="871964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99858368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4531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A2EC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rgbClr val="69008C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2332525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3505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A2EC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rgbClr val="69008C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79325444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9575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6900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rgbClr val="A2ECBA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7258472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3959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6900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rgbClr val="A2ECBA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396917329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8439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005F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rgbClr val="E8E200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255696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0305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CA9CA93-6B6D-4933-A4DB-3993CCDEF51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499F140C-09BF-423D-A0CC-184EF5A56DD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53136517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 Variation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7616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005F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rgbClr val="E8E200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404735850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523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E8E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rgbClr val="005FBE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noFill/>
        </p:spPr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noFill/>
        </p:spPr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4761507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81852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E8E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rgbClr val="005FBE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7323888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5493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FBA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rgbClr val="28325A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noFill/>
        </p:spPr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noFill/>
        </p:spPr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3114531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10315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FBA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rgbClr val="28325A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15543978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6742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2832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rgbClr val="FBA700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noFill/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noFill/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6528808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3480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2832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rgbClr val="FBA700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255317691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A633ECB-07AD-44A7-8EF2-1B6401B444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6054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A633ECB-07AD-44A7-8EF2-1B6401B444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BE4E586-88CE-494B-9DF4-3093DED303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00037" y="3741420"/>
            <a:ext cx="8539955" cy="188321"/>
          </a:xfrm>
        </p:spPr>
        <p:txBody>
          <a:bodyPr>
            <a:noAutofit/>
          </a:bodyPr>
          <a:lstStyle>
            <a:lvl1pPr marL="0" indent="0" rtl="0">
              <a:buNone/>
              <a:defRPr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AutHor, Segoe UI, 12p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19" y="524192"/>
            <a:ext cx="8539955" cy="3077766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Quote, </a:t>
            </a:r>
            <a:br>
              <a:rPr lang="en-US" noProof="0"/>
            </a:br>
            <a:r>
              <a:rPr lang="en-US" noProof="0"/>
              <a:t>Segoe UI, 40pt, </a:t>
            </a:r>
            <a:br>
              <a:rPr lang="en-US" noProof="0"/>
            </a:br>
            <a:r>
              <a:rPr lang="en-US" noProof="0"/>
              <a:t>max. 6 Lines</a:t>
            </a:r>
          </a:p>
        </p:txBody>
      </p:sp>
    </p:spTree>
    <p:extLst>
      <p:ext uri="{BB962C8B-B14F-4D97-AF65-F5344CB8AC3E}">
        <p14:creationId xmlns:p14="http://schemas.microsoft.com/office/powerpoint/2010/main" val="179905265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Varia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A633ECB-07AD-44A7-8EF2-1B6401B444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0587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A633ECB-07AD-44A7-8EF2-1B6401B444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BE4E586-88CE-494B-9DF4-3093DED303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00037" y="3741420"/>
            <a:ext cx="8539955" cy="188321"/>
          </a:xfrm>
        </p:spPr>
        <p:txBody>
          <a:bodyPr>
            <a:noAutofit/>
          </a:bodyPr>
          <a:lstStyle>
            <a:lvl1pPr marL="0" indent="0" rtl="0">
              <a:buNone/>
              <a:defRPr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Author, Segoe UI, 12p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19" y="524192"/>
            <a:ext cx="8539955" cy="3077766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Quote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6 Lines</a:t>
            </a:r>
          </a:p>
        </p:txBody>
      </p:sp>
    </p:spTree>
    <p:extLst>
      <p:ext uri="{BB962C8B-B14F-4D97-AF65-F5344CB8AC3E}">
        <p14:creationId xmlns:p14="http://schemas.microsoft.com/office/powerpoint/2010/main" val="382823937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Vari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A633ECB-07AD-44A7-8EF2-1B6401B444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430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A633ECB-07AD-44A7-8EF2-1B6401B444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BE4E586-88CE-494B-9DF4-3093DED303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0037" y="3741420"/>
            <a:ext cx="8539955" cy="188321"/>
          </a:xfrm>
        </p:spPr>
        <p:txBody>
          <a:bodyPr>
            <a:noAutofit/>
          </a:bodyPr>
          <a:lstStyle>
            <a:lvl1pPr marL="0" indent="0" rtl="0">
              <a:buNone/>
              <a:defRPr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Author, Segoe UI, 12p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2419" y="524192"/>
            <a:ext cx="8539955" cy="3077766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Quote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6 Lines</a:t>
            </a:r>
          </a:p>
        </p:txBody>
      </p:sp>
    </p:spTree>
    <p:extLst>
      <p:ext uri="{BB962C8B-B14F-4D97-AF65-F5344CB8AC3E}">
        <p14:creationId xmlns:p14="http://schemas.microsoft.com/office/powerpoint/2010/main" val="2290412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slideLayout" Target="../slideLayouts/slideLayout84.xml"/><Relationship Id="rId89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6.xml"/><Relationship Id="rId107" Type="http://schemas.openxmlformats.org/officeDocument/2006/relationships/oleObject" Target="../embeddings/oleObject1.bin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5.xml"/><Relationship Id="rId90" Type="http://schemas.openxmlformats.org/officeDocument/2006/relationships/slideLayout" Target="../slideLayouts/slideLayout90.xml"/><Relationship Id="rId95" Type="http://schemas.openxmlformats.org/officeDocument/2006/relationships/slideLayout" Target="../slideLayouts/slideLayout95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08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91" Type="http://schemas.openxmlformats.org/officeDocument/2006/relationships/slideLayout" Target="../slideLayouts/slideLayout91.xml"/><Relationship Id="rId96" Type="http://schemas.openxmlformats.org/officeDocument/2006/relationships/slideLayout" Target="../slideLayouts/slideLayout9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04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73C7373-B062-49D1-95CD-2D40ADE593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6"/>
            </p:custDataLst>
            <p:extLst>
              <p:ext uri="{D42A27DB-BD31-4B8C-83A1-F6EECF244321}">
                <p14:modId xmlns:p14="http://schemas.microsoft.com/office/powerpoint/2010/main" val="2505652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7" imgW="306" imgH="306" progId="TCLayout.ActiveDocument.1">
                  <p:embed/>
                </p:oleObj>
              </mc:Choice>
              <mc:Fallback>
                <p:oleObj name="think-cell Folie" r:id="rId107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573C7373-B062-49D1-95CD-2D40ADE593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02420" y="303212"/>
            <a:ext cx="7091362" cy="6155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Slide Title, Segoe UI, 24pt</a:t>
            </a:r>
            <a:br>
              <a:rPr lang="en-US" noProof="0" dirty="0"/>
            </a:br>
            <a:r>
              <a:rPr lang="en-US" noProof="0" dirty="0"/>
              <a:t>Max. 2 Lin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02420" y="1492251"/>
            <a:ext cx="7088980" cy="28797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First Level, Segoe UI, 12pt 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618649" y="4733844"/>
            <a:ext cx="3151664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800" cap="all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300038" y="4733844"/>
            <a:ext cx="318611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800"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Grafik 8">
            <a:extLst>
              <a:ext uri="{FF2B5EF4-FFF2-40B4-BE49-F238E27FC236}">
                <a16:creationId xmlns:a16="http://schemas.microsoft.com/office/drawing/2014/main" id="{7BF37C91-00E2-47BD-94A0-102999D00519}"/>
              </a:ext>
            </a:extLst>
          </p:cNvPr>
          <p:cNvSpPr/>
          <p:nvPr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01074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78" r:id="rId2"/>
    <p:sldLayoutId id="2147483661" r:id="rId3"/>
    <p:sldLayoutId id="2147483672" r:id="rId4"/>
    <p:sldLayoutId id="2147483673" r:id="rId5"/>
    <p:sldLayoutId id="2147483674" r:id="rId6"/>
    <p:sldLayoutId id="2147483708" r:id="rId7"/>
    <p:sldLayoutId id="2147483709" r:id="rId8"/>
    <p:sldLayoutId id="2147483710" r:id="rId9"/>
    <p:sldLayoutId id="2147483711" r:id="rId10"/>
    <p:sldLayoutId id="2147483719" r:id="rId11"/>
    <p:sldLayoutId id="2147483720" r:id="rId12"/>
    <p:sldLayoutId id="2147483721" r:id="rId13"/>
    <p:sldLayoutId id="2147483722" r:id="rId14"/>
    <p:sldLayoutId id="2147483723" r:id="rId15"/>
    <p:sldLayoutId id="2147483724" r:id="rId16"/>
    <p:sldLayoutId id="2147483725" r:id="rId17"/>
    <p:sldLayoutId id="2147483726" r:id="rId18"/>
    <p:sldLayoutId id="2147483727" r:id="rId19"/>
    <p:sldLayoutId id="2147483728" r:id="rId20"/>
    <p:sldLayoutId id="2147483729" r:id="rId21"/>
    <p:sldLayoutId id="2147483730" r:id="rId22"/>
    <p:sldLayoutId id="2147483731" r:id="rId23"/>
    <p:sldLayoutId id="2147483732" r:id="rId24"/>
    <p:sldLayoutId id="2147483733" r:id="rId25"/>
    <p:sldLayoutId id="2147483734" r:id="rId26"/>
    <p:sldLayoutId id="2147483735" r:id="rId27"/>
    <p:sldLayoutId id="2147483736" r:id="rId28"/>
    <p:sldLayoutId id="2147483737" r:id="rId29"/>
    <p:sldLayoutId id="2147483738" r:id="rId30"/>
    <p:sldLayoutId id="2147483739" r:id="rId31"/>
    <p:sldLayoutId id="2147483740" r:id="rId32"/>
    <p:sldLayoutId id="2147483741" r:id="rId33"/>
    <p:sldLayoutId id="2147483742" r:id="rId34"/>
    <p:sldLayoutId id="2147483743" r:id="rId35"/>
    <p:sldLayoutId id="2147483744" r:id="rId36"/>
    <p:sldLayoutId id="2147483780" r:id="rId37"/>
    <p:sldLayoutId id="2147483713" r:id="rId38"/>
    <p:sldLayoutId id="2147483677" r:id="rId39"/>
    <p:sldLayoutId id="2147483782" r:id="rId40"/>
    <p:sldLayoutId id="2147483781" r:id="rId41"/>
    <p:sldLayoutId id="2147483675" r:id="rId42"/>
    <p:sldLayoutId id="2147483775" r:id="rId43"/>
    <p:sldLayoutId id="2147483676" r:id="rId44"/>
    <p:sldLayoutId id="2147483685" r:id="rId45"/>
    <p:sldLayoutId id="2147483686" r:id="rId46"/>
    <p:sldLayoutId id="2147483687" r:id="rId47"/>
    <p:sldLayoutId id="2147483688" r:id="rId48"/>
    <p:sldLayoutId id="2147483689" r:id="rId49"/>
    <p:sldLayoutId id="2147483690" r:id="rId50"/>
    <p:sldLayoutId id="2147483692" r:id="rId51"/>
    <p:sldLayoutId id="2147483693" r:id="rId52"/>
    <p:sldLayoutId id="2147483695" r:id="rId53"/>
    <p:sldLayoutId id="2147483696" r:id="rId54"/>
    <p:sldLayoutId id="2147483697" r:id="rId55"/>
    <p:sldLayoutId id="2147483698" r:id="rId56"/>
    <p:sldLayoutId id="2147483716" r:id="rId57"/>
    <p:sldLayoutId id="2147483718" r:id="rId58"/>
    <p:sldLayoutId id="2147483704" r:id="rId59"/>
    <p:sldLayoutId id="2147483705" r:id="rId60"/>
    <p:sldLayoutId id="2147483776" r:id="rId61"/>
    <p:sldLayoutId id="2147483777" r:id="rId62"/>
    <p:sldLayoutId id="2147483706" r:id="rId63"/>
    <p:sldLayoutId id="2147483707" r:id="rId64"/>
    <p:sldLayoutId id="2147483714" r:id="rId65"/>
    <p:sldLayoutId id="2147483715" r:id="rId66"/>
    <p:sldLayoutId id="2147483745" r:id="rId67"/>
    <p:sldLayoutId id="2147483746" r:id="rId68"/>
    <p:sldLayoutId id="2147483747" r:id="rId69"/>
    <p:sldLayoutId id="2147483748" r:id="rId70"/>
    <p:sldLayoutId id="2147483749" r:id="rId71"/>
    <p:sldLayoutId id="2147483750" r:id="rId72"/>
    <p:sldLayoutId id="2147483751" r:id="rId73"/>
    <p:sldLayoutId id="2147483752" r:id="rId74"/>
    <p:sldLayoutId id="2147483753" r:id="rId75"/>
    <p:sldLayoutId id="2147483754" r:id="rId76"/>
    <p:sldLayoutId id="2147483755" r:id="rId77"/>
    <p:sldLayoutId id="2147483756" r:id="rId78"/>
    <p:sldLayoutId id="2147483683" r:id="rId79"/>
    <p:sldLayoutId id="2147483684" r:id="rId80"/>
    <p:sldLayoutId id="2147483757" r:id="rId81"/>
    <p:sldLayoutId id="2147483758" r:id="rId82"/>
    <p:sldLayoutId id="2147483759" r:id="rId83"/>
    <p:sldLayoutId id="2147483760" r:id="rId84"/>
    <p:sldLayoutId id="2147483761" r:id="rId85"/>
    <p:sldLayoutId id="2147483762" r:id="rId86"/>
    <p:sldLayoutId id="2147483763" r:id="rId87"/>
    <p:sldLayoutId id="2147483764" r:id="rId88"/>
    <p:sldLayoutId id="2147483765" r:id="rId89"/>
    <p:sldLayoutId id="2147483766" r:id="rId90"/>
    <p:sldLayoutId id="2147483767" r:id="rId91"/>
    <p:sldLayoutId id="2147483768" r:id="rId92"/>
    <p:sldLayoutId id="2147483769" r:id="rId93"/>
    <p:sldLayoutId id="2147483770" r:id="rId94"/>
    <p:sldLayoutId id="2147483771" r:id="rId95"/>
    <p:sldLayoutId id="2147483772" r:id="rId96"/>
    <p:sldLayoutId id="2147483717" r:id="rId97"/>
    <p:sldLayoutId id="2147483699" r:id="rId98"/>
    <p:sldLayoutId id="2147483773" r:id="rId99"/>
    <p:sldLayoutId id="2147483774" r:id="rId100"/>
    <p:sldLayoutId id="2147483700" r:id="rId101"/>
    <p:sldLayoutId id="2147483779" r:id="rId102"/>
    <p:sldLayoutId id="2147483701" r:id="rId103"/>
    <p:sldLayoutId id="2147483702" r:id="rId104"/>
  </p:sldLayoutIdLst>
  <p:hf hdr="0" dt="0"/>
  <p:txStyles>
    <p:titleStyle>
      <a:lvl1pPr algn="l" defTabSz="685800" rtl="0" eaLnBrk="1" latinLnBrk="0" hangingPunct="1">
        <a:lnSpc>
          <a:spcPts val="2400"/>
        </a:lnSpc>
        <a:spcBef>
          <a:spcPct val="0"/>
        </a:spcBef>
        <a:buNone/>
        <a:defRPr sz="240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62000" indent="-162000" algn="l" defTabSz="685800" rtl="0" eaLnBrk="1" latinLnBrk="0" hangingPunct="1">
        <a:lnSpc>
          <a:spcPct val="114000"/>
        </a:lnSpc>
        <a:spcBef>
          <a:spcPts val="0"/>
        </a:spcBef>
        <a:spcAft>
          <a:spcPts val="120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522000" indent="-162000" algn="l" defTabSz="685800" rtl="0" eaLnBrk="1" latinLnBrk="0" hangingPunct="1">
        <a:lnSpc>
          <a:spcPct val="114000"/>
        </a:lnSpc>
        <a:spcBef>
          <a:spcPts val="0"/>
        </a:spcBef>
        <a:spcAft>
          <a:spcPts val="1200"/>
        </a:spcAft>
        <a:buClr>
          <a:schemeClr val="accent1"/>
        </a:buClr>
        <a:buFont typeface="GT Flexa Rg" pitchFamily="2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90000" indent="-162000" algn="l" defTabSz="685800" rtl="0" eaLnBrk="1" latinLnBrk="0" hangingPunct="1">
        <a:lnSpc>
          <a:spcPct val="114000"/>
        </a:lnSpc>
        <a:spcBef>
          <a:spcPts val="0"/>
        </a:spcBef>
        <a:spcAft>
          <a:spcPts val="1200"/>
        </a:spcAft>
        <a:buClr>
          <a:schemeClr val="accent1"/>
        </a:buClr>
        <a:buFont typeface="GT Flexa Rg" pitchFamily="2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458000" indent="-162000" algn="l" defTabSz="685800" rtl="0" eaLnBrk="1" latinLnBrk="0" hangingPunct="1">
        <a:lnSpc>
          <a:spcPct val="114000"/>
        </a:lnSpc>
        <a:spcBef>
          <a:spcPts val="0"/>
        </a:spcBef>
        <a:spcAft>
          <a:spcPts val="1200"/>
        </a:spcAft>
        <a:buClr>
          <a:schemeClr val="accent1"/>
        </a:buClr>
        <a:buFont typeface="GT Flexa Rg" pitchFamily="2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926000" indent="-162000" algn="l" defTabSz="685800" rtl="0" eaLnBrk="1" latinLnBrk="0" hangingPunct="1">
        <a:lnSpc>
          <a:spcPct val="114000"/>
        </a:lnSpc>
        <a:spcBef>
          <a:spcPts val="0"/>
        </a:spcBef>
        <a:spcAft>
          <a:spcPts val="1200"/>
        </a:spcAft>
        <a:buClr>
          <a:schemeClr val="accent1"/>
        </a:buClr>
        <a:buFont typeface="GT Flexa Rg" pitchFamily="2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89" userDrawn="1">
          <p15:clr>
            <a:srgbClr val="A4A3A4"/>
          </p15:clr>
        </p15:guide>
        <p15:guide id="5" orient="horz" pos="188" userDrawn="1">
          <p15:clr>
            <a:srgbClr val="A4A3A4"/>
          </p15:clr>
        </p15:guide>
        <p15:guide id="7" orient="horz" pos="3052" userDrawn="1">
          <p15:clr>
            <a:srgbClr val="A4A3A4"/>
          </p15:clr>
        </p15:guide>
        <p15:guide id="8" pos="549" userDrawn="1">
          <p15:clr>
            <a:srgbClr val="A4A3A4"/>
          </p15:clr>
        </p15:guide>
        <p15:guide id="9" pos="645" userDrawn="1">
          <p15:clr>
            <a:srgbClr val="A4A3A4"/>
          </p15:clr>
        </p15:guide>
        <p15:guide id="10" pos="1005" userDrawn="1">
          <p15:clr>
            <a:srgbClr val="A4A3A4"/>
          </p15:clr>
        </p15:guide>
        <p15:guide id="11" pos="1101" userDrawn="1">
          <p15:clr>
            <a:srgbClr val="A4A3A4"/>
          </p15:clr>
        </p15:guide>
        <p15:guide id="12" pos="1461" userDrawn="1">
          <p15:clr>
            <a:srgbClr val="A4A3A4"/>
          </p15:clr>
        </p15:guide>
        <p15:guide id="13" pos="1557" userDrawn="1">
          <p15:clr>
            <a:srgbClr val="A4A3A4"/>
          </p15:clr>
        </p15:guide>
        <p15:guide id="14" pos="1917" userDrawn="1">
          <p15:clr>
            <a:srgbClr val="A4A3A4"/>
          </p15:clr>
        </p15:guide>
        <p15:guide id="15" pos="2013" userDrawn="1">
          <p15:clr>
            <a:srgbClr val="A4A3A4"/>
          </p15:clr>
        </p15:guide>
        <p15:guide id="16" pos="2375" userDrawn="1">
          <p15:clr>
            <a:srgbClr val="A4A3A4"/>
          </p15:clr>
        </p15:guide>
        <p15:guide id="17" pos="2471" userDrawn="1">
          <p15:clr>
            <a:srgbClr val="A4A3A4"/>
          </p15:clr>
        </p15:guide>
        <p15:guide id="18" pos="2832" userDrawn="1">
          <p15:clr>
            <a:srgbClr val="A4A3A4"/>
          </p15:clr>
        </p15:guide>
        <p15:guide id="19" pos="2927" userDrawn="1">
          <p15:clr>
            <a:srgbClr val="A4A3A4"/>
          </p15:clr>
        </p15:guide>
        <p15:guide id="20" pos="3288" userDrawn="1">
          <p15:clr>
            <a:srgbClr val="A4A3A4"/>
          </p15:clr>
        </p15:guide>
        <p15:guide id="21" pos="3384" userDrawn="1">
          <p15:clr>
            <a:srgbClr val="A4A3A4"/>
          </p15:clr>
        </p15:guide>
        <p15:guide id="22" pos="3744" userDrawn="1">
          <p15:clr>
            <a:srgbClr val="A4A3A4"/>
          </p15:clr>
        </p15:guide>
        <p15:guide id="23" pos="3840" userDrawn="1">
          <p15:clr>
            <a:srgbClr val="A4A3A4"/>
          </p15:clr>
        </p15:guide>
        <p15:guide id="24" pos="4200" userDrawn="1">
          <p15:clr>
            <a:srgbClr val="A4A3A4"/>
          </p15:clr>
        </p15:guide>
        <p15:guide id="25" pos="4296" userDrawn="1">
          <p15:clr>
            <a:srgbClr val="A4A3A4"/>
          </p15:clr>
        </p15:guide>
        <p15:guide id="26" pos="4656" userDrawn="1">
          <p15:clr>
            <a:srgbClr val="A4A3A4"/>
          </p15:clr>
        </p15:guide>
        <p15:guide id="27" pos="4752" userDrawn="1">
          <p15:clr>
            <a:srgbClr val="A4A3A4"/>
          </p15:clr>
        </p15:guide>
        <p15:guide id="28" pos="5114" userDrawn="1">
          <p15:clr>
            <a:srgbClr val="A4A3A4"/>
          </p15:clr>
        </p15:guide>
        <p15:guide id="29" pos="5210" userDrawn="1">
          <p15:clr>
            <a:srgbClr val="A4A3A4"/>
          </p15:clr>
        </p15:guide>
        <p15:guide id="31" pos="5570" userDrawn="1">
          <p15:clr>
            <a:srgbClr val="A4A3A4"/>
          </p15:clr>
        </p15:guide>
        <p15:guide id="32" orient="horz" pos="940" userDrawn="1">
          <p15:clr>
            <a:srgbClr val="A4A3A4"/>
          </p15:clr>
        </p15:guide>
        <p15:guide id="33" orient="horz" pos="2754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9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gif"/><Relationship Id="rId1" Type="http://schemas.openxmlformats.org/officeDocument/2006/relationships/slideLayout" Target="../slideLayouts/slideLayout4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03.xml"/><Relationship Id="rId1" Type="http://schemas.openxmlformats.org/officeDocument/2006/relationships/tags" Target="../tags/tag114.xml"/><Relationship Id="rId6" Type="http://schemas.openxmlformats.org/officeDocument/2006/relationships/image" Target="../media/image2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08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0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11.xml"/><Relationship Id="rId6" Type="http://schemas.openxmlformats.org/officeDocument/2006/relationships/hyperlink" Target="https://developer.mozilla.org/en-US/play?uuid=3e65e618-2da2-429f-86b5-1cd4a745f7af&amp;state=ZY5Bi8IwEEb%2FyvidKki9V%2Bul7N2rkEtMRlM3nYR2Cor43yUt7GVPwzBvHu%2BNoENEg%2BN1Vk1CSVzs3W9r4Ea2ymc72vtoc6i2Bqeu3GjgzXG%2F8icj2MFNExpgh0eZt1mc9knon4HeRohckkkp29FSSz65eWDReoV%2FIpetMsgG20PBC1grP7VLoixKLRlc0kxLKHvSwLTWbAyWlz%2FpNflXbXNm8V3oo6%2BKrGg%2FS7cGHhgNYn8Pis8X&amp;srcPrefix=%2Fen-US%2Fdocs%2FLearn_web_development%2FCore%2FScripting%2FWhat_is_JavaScript%2F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1.jpeg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12.x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Relationship Id="rId9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13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C383830-5B10-401A-BF10-E6E1744819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C383830-5B10-401A-BF10-E6E1744819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47FAEEF0-36B7-4481-8228-07ECAE5665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038" y="792000"/>
            <a:ext cx="6858000" cy="1154162"/>
          </a:xfrm>
        </p:spPr>
        <p:txBody>
          <a:bodyPr vert="horz"/>
          <a:lstStyle/>
          <a:p>
            <a:r>
              <a:rPr lang="en-US" dirty="0"/>
              <a:t>“Let’s Build Cool Websites with ReactJS!”</a:t>
            </a:r>
          </a:p>
        </p:txBody>
      </p:sp>
      <p:sp>
        <p:nvSpPr>
          <p:cNvPr id="7" name="Untertitel 6">
            <a:extLst>
              <a:ext uri="{FF2B5EF4-FFF2-40B4-BE49-F238E27FC236}">
                <a16:creationId xmlns:a16="http://schemas.microsoft.com/office/drawing/2014/main" id="{4DC78E09-2F5F-42ED-B40B-4690E044DA8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038" y="2711435"/>
            <a:ext cx="2118714" cy="242122"/>
          </a:xfrm>
        </p:spPr>
        <p:txBody>
          <a:bodyPr/>
          <a:lstStyle/>
          <a:p>
            <a:r>
              <a:rPr lang="en-US" dirty="0"/>
              <a:t>Priyanka </a:t>
            </a:r>
            <a:r>
              <a:rPr lang="en-US" dirty="0" err="1"/>
              <a:t>MAThur</a:t>
            </a:r>
            <a:r>
              <a:rPr lang="en-US" dirty="0"/>
              <a:t> Soni, Nivedha</a:t>
            </a:r>
          </a:p>
        </p:txBody>
      </p:sp>
    </p:spTree>
    <p:extLst>
      <p:ext uri="{BB962C8B-B14F-4D97-AF65-F5344CB8AC3E}">
        <p14:creationId xmlns:p14="http://schemas.microsoft.com/office/powerpoint/2010/main" val="28619701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73687D-0487-8D7C-586C-ED77C575DD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B707F3-6196-EB39-B9ED-1D3524A0D6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veloper Tool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43A7C92-91F2-5AE5-B96D-8AE32B7AFB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719E085-D95F-F00F-143D-B1506BF99E1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AAD3E2C-A803-6A46-085E-BE34B5687C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4660" y="1113393"/>
            <a:ext cx="7091362" cy="1712911"/>
          </a:xfrm>
        </p:spPr>
        <p:txBody>
          <a:bodyPr/>
          <a:lstStyle/>
          <a:p>
            <a:r>
              <a:rPr lang="en-US" dirty="0"/>
              <a:t>Built inside Chrome (Right click → Inspect).</a:t>
            </a:r>
          </a:p>
          <a:p>
            <a:r>
              <a:rPr lang="en-US" dirty="0"/>
              <a:t>Used by developers to:</a:t>
            </a:r>
          </a:p>
          <a:p>
            <a:pPr marL="0" indent="0">
              <a:buNone/>
            </a:pPr>
            <a:r>
              <a:rPr lang="en-US" dirty="0"/>
              <a:t>        -  </a:t>
            </a:r>
            <a:r>
              <a:rPr lang="en-US" b="1" dirty="0"/>
              <a:t>Inspect elements</a:t>
            </a:r>
            <a:r>
              <a:rPr lang="en-US" dirty="0"/>
              <a:t> (see the HTML &amp; CSS behind a page).</a:t>
            </a:r>
          </a:p>
          <a:p>
            <a:pPr marL="0" indent="0">
              <a:buNone/>
            </a:pPr>
            <a:r>
              <a:rPr lang="en-US" dirty="0"/>
              <a:t>        -  </a:t>
            </a:r>
            <a:r>
              <a:rPr lang="en-US" b="1" dirty="0"/>
              <a:t>Debug JavaScript</a:t>
            </a:r>
            <a:r>
              <a:rPr lang="en-US" dirty="0"/>
              <a:t> (find and fix errors).</a:t>
            </a:r>
          </a:p>
          <a:p>
            <a:pPr marL="0" indent="0">
              <a:buNone/>
            </a:pPr>
            <a:r>
              <a:rPr lang="en-US" dirty="0"/>
              <a:t>        -  </a:t>
            </a:r>
            <a:r>
              <a:rPr lang="en-US" b="1" dirty="0"/>
              <a:t>Check responsiveness</a:t>
            </a:r>
            <a:r>
              <a:rPr lang="en-US" dirty="0"/>
              <a:t> (how a website looks on mobile/desktop)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8C459260-035B-99C1-88F0-CE844B7C1C85}"/>
              </a:ext>
            </a:extLst>
          </p:cNvPr>
          <p:cNvSpPr txBox="1">
            <a:spLocks/>
          </p:cNvSpPr>
          <p:nvPr/>
        </p:nvSpPr>
        <p:spPr bwMode="gray">
          <a:xfrm>
            <a:off x="302420" y="3944846"/>
            <a:ext cx="4130952" cy="7889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18672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351E49-86FA-B6D7-6223-5539F947D5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FC2060A-D8F3-DEEF-1CEF-E5AFD55A8C8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CAD7A2D-F2CF-15DD-2D79-254CD41AC33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11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462E56D-F9B5-BC04-C764-2814FAB38C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Developer Tools</a:t>
            </a:r>
          </a:p>
        </p:txBody>
      </p:sp>
      <p:pic>
        <p:nvPicPr>
          <p:cNvPr id="5124" name="Picture 4" descr="The Inspect option in a drop-down menu in Chrome.">
            <a:extLst>
              <a:ext uri="{FF2B5EF4-FFF2-40B4-BE49-F238E27FC236}">
                <a16:creationId xmlns:a16="http://schemas.microsoft.com/office/drawing/2014/main" id="{11BEAD29-AB20-6767-8719-8300FF2AAF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79499" y="747846"/>
            <a:ext cx="6735848" cy="4251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E4D8E35A-1236-FD4F-D369-3A23C73AFCC0}"/>
              </a:ext>
            </a:extLst>
          </p:cNvPr>
          <p:cNvSpPr txBox="1">
            <a:spLocks/>
          </p:cNvSpPr>
          <p:nvPr/>
        </p:nvSpPr>
        <p:spPr bwMode="gray">
          <a:xfrm>
            <a:off x="302420" y="3944846"/>
            <a:ext cx="4130952" cy="7889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50124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F09220-3C97-4B12-B491-374443DC33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1228013-0A37-948E-7AE2-A2F6B90D8C2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F42A8FF-A1E8-9891-E9CB-4EB57370439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12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FC4C995-2DFB-9BCC-4077-9283C33615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Developer Tools</a:t>
            </a:r>
          </a:p>
        </p:txBody>
      </p:sp>
      <p:pic>
        <p:nvPicPr>
          <p:cNvPr id="5" name="Picture 8" descr="The Debugger to the right of the wide window.">
            <a:extLst>
              <a:ext uri="{FF2B5EF4-FFF2-40B4-BE49-F238E27FC236}">
                <a16:creationId xmlns:a16="http://schemas.microsoft.com/office/drawing/2014/main" id="{C4C14E67-24B5-B477-A0DF-8B9C701C4C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81631" y="918765"/>
            <a:ext cx="6912151" cy="3697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27FBF77E-5846-F176-4BA6-B65CB1491C54}"/>
              </a:ext>
            </a:extLst>
          </p:cNvPr>
          <p:cNvSpPr txBox="1">
            <a:spLocks/>
          </p:cNvSpPr>
          <p:nvPr/>
        </p:nvSpPr>
        <p:spPr bwMode="gray">
          <a:xfrm>
            <a:off x="302420" y="3944846"/>
            <a:ext cx="4130952" cy="7889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35480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37E4B2-E59A-76A7-4B81-AEDA10713B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ECEB577-A7B4-CDB4-6BE3-6C1E825074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C7AE0B1-756D-099E-9E75-DECB376869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13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4E2919-8009-7F1B-7FF4-87A6DF906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Developer Tools</a:t>
            </a:r>
          </a:p>
        </p:txBody>
      </p:sp>
      <p:pic>
        <p:nvPicPr>
          <p:cNvPr id="8" name="Picture 6" descr="The width presets bar.">
            <a:extLst>
              <a:ext uri="{FF2B5EF4-FFF2-40B4-BE49-F238E27FC236}">
                <a16:creationId xmlns:a16="http://schemas.microsoft.com/office/drawing/2014/main" id="{28E8C03E-7778-48C5-C74B-7F11761FBE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86625" y="918765"/>
            <a:ext cx="5270015" cy="3770519"/>
          </a:xfrm>
          <a:prstGeom prst="rect">
            <a:avLst/>
          </a:prstGeom>
          <a:solidFill>
            <a:srgbClr val="FFFFFF"/>
          </a:solidFill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7A0207C6-8055-4C02-3546-F425009E4E0C}"/>
              </a:ext>
            </a:extLst>
          </p:cNvPr>
          <p:cNvSpPr txBox="1">
            <a:spLocks/>
          </p:cNvSpPr>
          <p:nvPr/>
        </p:nvSpPr>
        <p:spPr bwMode="gray">
          <a:xfrm>
            <a:off x="302420" y="3944846"/>
            <a:ext cx="4130952" cy="7889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11093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04BFDD-216A-AF55-8835-8A72B0C1CF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F6D37B4-AF0E-46F6-FCE2-48C37E0C6F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ing VS Cod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7162FED-278D-D633-F102-0CF26F04F46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4F4F6AF-57E1-9C28-8A45-D9AFEE778C9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B4D34F3-526F-CE6C-6351-F4D230C09F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2420" y="889477"/>
            <a:ext cx="7091362" cy="2498429"/>
          </a:xfrm>
        </p:spPr>
        <p:txBody>
          <a:bodyPr/>
          <a:lstStyle/>
          <a:p>
            <a:r>
              <a:rPr lang="en-US" b="1" dirty="0"/>
              <a:t>Visual Studio Code (VS Code)</a:t>
            </a:r>
            <a:r>
              <a:rPr lang="en-US" dirty="0"/>
              <a:t> = a free code editor for writing programs.</a:t>
            </a:r>
          </a:p>
          <a:p>
            <a:r>
              <a:rPr lang="en-US" dirty="0"/>
              <a:t>Supports </a:t>
            </a:r>
            <a:r>
              <a:rPr lang="en-US" b="1" dirty="0"/>
              <a:t>HTML, CSS, JavaScript</a:t>
            </a:r>
            <a:r>
              <a:rPr lang="en-US" dirty="0"/>
              <a:t>, and many more languages.</a:t>
            </a:r>
          </a:p>
          <a:p>
            <a:r>
              <a:rPr lang="en-US" dirty="0"/>
              <a:t>Features:</a:t>
            </a:r>
          </a:p>
          <a:p>
            <a:pPr marL="0" indent="0">
              <a:buNone/>
            </a:pPr>
            <a:r>
              <a:rPr lang="en-US" dirty="0"/>
              <a:t>        -  </a:t>
            </a:r>
            <a:r>
              <a:rPr lang="en-US" b="1" dirty="0"/>
              <a:t>Extensions</a:t>
            </a:r>
            <a:r>
              <a:rPr lang="en-US" dirty="0"/>
              <a:t> (to make coding easier).</a:t>
            </a:r>
          </a:p>
          <a:p>
            <a:pPr marL="0" indent="0">
              <a:buNone/>
            </a:pPr>
            <a:r>
              <a:rPr lang="en-US" dirty="0"/>
              <a:t>        -  </a:t>
            </a:r>
            <a:r>
              <a:rPr lang="en-US" b="1" dirty="0"/>
              <a:t>Themes</a:t>
            </a:r>
            <a:r>
              <a:rPr lang="en-US" dirty="0"/>
              <a:t> (customize look).</a:t>
            </a:r>
          </a:p>
          <a:p>
            <a:pPr marL="0" indent="0">
              <a:buNone/>
            </a:pPr>
            <a:r>
              <a:rPr lang="en-US" dirty="0"/>
              <a:t>        -  </a:t>
            </a:r>
            <a:r>
              <a:rPr lang="en-US" b="1" dirty="0"/>
              <a:t>Built-in terminal</a:t>
            </a:r>
            <a:r>
              <a:rPr lang="en-US" dirty="0"/>
              <a:t> (run commands).</a:t>
            </a:r>
          </a:p>
        </p:txBody>
      </p:sp>
    </p:spTree>
    <p:extLst>
      <p:ext uri="{BB962C8B-B14F-4D97-AF65-F5344CB8AC3E}">
        <p14:creationId xmlns:p14="http://schemas.microsoft.com/office/powerpoint/2010/main" val="36494892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019E6E-9778-52D3-D269-0E96F6A3B4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1EEEB23-8A34-2B7E-8FF9-106EDA09C0E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CD51055-CB13-C37A-1E8D-64D36011E5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15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580F983-32C0-B831-D666-5755E99601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Using VS Code</a:t>
            </a:r>
          </a:p>
        </p:txBody>
      </p:sp>
      <p:pic>
        <p:nvPicPr>
          <p:cNvPr id="8194" name="Picture 2" descr="Preview themes from the Command Palette">
            <a:extLst>
              <a:ext uri="{FF2B5EF4-FFF2-40B4-BE49-F238E27FC236}">
                <a16:creationId xmlns:a16="http://schemas.microsoft.com/office/drawing/2014/main" id="{98DB2711-DB48-8963-7A3F-4DF9FAC962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93290" y="1109265"/>
            <a:ext cx="6109622" cy="3265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3027408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1FE8CF-00AB-7098-0780-4DD092B409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4FBF6E3-0EA4-553F-7B52-56AC215FB13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A64A9BC-0E30-4764-9E37-13BE9046AF5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16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0AD5F32-B918-473A-D1D2-584FBE2FC3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Using VS Cod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0D784FB-97BB-0C31-F6B3-780689449B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8649" y="1039475"/>
            <a:ext cx="6263782" cy="3450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68133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D6662C-14C5-73E9-451A-DA3764BA39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EEF89EC-581A-E73A-4380-43FE781FBE9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BE4A1BC-92D4-957C-1418-9A5CDA8489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17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F39E66D-DA89-5DB6-CC65-EF083A505E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Using VS Code</a:t>
            </a:r>
          </a:p>
        </p:txBody>
      </p:sp>
      <p:pic>
        <p:nvPicPr>
          <p:cNvPr id="10242" name="Picture 2" descr="Open the terminal">
            <a:extLst>
              <a:ext uri="{FF2B5EF4-FFF2-40B4-BE49-F238E27FC236}">
                <a16:creationId xmlns:a16="http://schemas.microsoft.com/office/drawing/2014/main" id="{5532B730-7423-4FF8-117C-7FAFEFC046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15826" y="1116245"/>
            <a:ext cx="6215466" cy="3265416"/>
          </a:xfrm>
          <a:prstGeom prst="rect">
            <a:avLst/>
          </a:prstGeom>
          <a:solidFill>
            <a:srgbClr val="FFFFFF"/>
          </a:solidFill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451071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3610405C-F863-46AF-BD68-1AAFB283A9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3610405C-F863-46AF-BD68-1AAFB283A9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300EADB7-0EC7-4DF5-87D8-E1F4B8D557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3919060" cy="512961"/>
          </a:xfrm>
        </p:spPr>
        <p:txBody>
          <a:bodyPr vert="horz"/>
          <a:lstStyle/>
          <a:p>
            <a:r>
              <a:rPr lang="en-US" dirty="0"/>
              <a:t>Thank you.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C7DAEA0-5F99-491B-88F0-E51AE5A455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261359E4-ACA6-4199-B351-FA44010F46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/>
          <a:lstStyle/>
          <a:p>
            <a:fld id="{54413C03-D129-4B04-B289-283874789DC0}" type="slidenum">
              <a:rPr lang="en-US" smtClean="0"/>
              <a:pPr/>
              <a:t>18</a:t>
            </a:fld>
            <a:endParaRPr lang="en-US" dirty="0"/>
          </a:p>
        </p:txBody>
      </p:sp>
      <p:pic>
        <p:nvPicPr>
          <p:cNvPr id="10" name="Bildplatzhalter 9" descr="Ein Bild, das Person enthält.&#10;&#10;Automatisch generierte Beschreibung">
            <a:extLst>
              <a:ext uri="{FF2B5EF4-FFF2-40B4-BE49-F238E27FC236}">
                <a16:creationId xmlns:a16="http://schemas.microsoft.com/office/drawing/2014/main" id="{46D11A94-D46F-4FDB-B7C7-7AC26293E09C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0" y="0"/>
            <a:ext cx="4572000" cy="5145088"/>
          </a:xfrm>
        </p:spPr>
      </p:pic>
    </p:spTree>
    <p:extLst>
      <p:ext uri="{BB962C8B-B14F-4D97-AF65-F5344CB8AC3E}">
        <p14:creationId xmlns:p14="http://schemas.microsoft.com/office/powerpoint/2010/main" val="37646702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991E539-5EFE-4AED-872E-603B8D34AC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8487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991E539-5EFE-4AED-872E-603B8D34AC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3310CE0A-9AAD-4E7F-A2A7-EF175D65B6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frontend developmen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2C3F69D-D76D-4CFB-AD5F-C2A6D428E3D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“Let’s Build Cool Websites with ReactJS!”</a:t>
            </a:r>
            <a:endParaRPr lang="en-US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EDC0427A-C23D-481C-8E1B-1076EC28FD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noProof="0" smtClean="0"/>
              <a:pPr/>
              <a:t>2</a:t>
            </a:fld>
            <a:endParaRPr lang="en-US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0B1E615-E944-47CD-AC27-55B477280C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2420" y="1242392"/>
            <a:ext cx="7091362" cy="2368672"/>
          </a:xfrm>
        </p:spPr>
        <p:txBody>
          <a:bodyPr/>
          <a:lstStyle/>
          <a:p>
            <a:r>
              <a:rPr lang="en-US" dirty="0"/>
              <a:t>Frontend development is the </a:t>
            </a:r>
            <a:r>
              <a:rPr lang="en-US" b="1" dirty="0"/>
              <a:t>visible part of a website</a:t>
            </a:r>
            <a:r>
              <a:rPr lang="en-US" dirty="0"/>
              <a:t> that users see and interact with.</a:t>
            </a:r>
          </a:p>
          <a:p>
            <a:r>
              <a:rPr lang="en-US" dirty="0"/>
              <a:t>It includes </a:t>
            </a:r>
            <a:r>
              <a:rPr lang="en-US" b="1" dirty="0"/>
              <a:t>buttons, text, images, colors, and layout</a:t>
            </a:r>
            <a:r>
              <a:rPr lang="en-US" dirty="0"/>
              <a:t>.</a:t>
            </a:r>
          </a:p>
          <a:p>
            <a:r>
              <a:rPr lang="en-US" dirty="0"/>
              <a:t>Example: When you open YouTube, the videos, buttons, search bar → all are frontend.</a:t>
            </a:r>
            <a:br>
              <a:rPr lang="en-US" dirty="0"/>
            </a:br>
            <a:endParaRPr lang="en-US" dirty="0"/>
          </a:p>
        </p:txBody>
      </p:sp>
      <p:pic>
        <p:nvPicPr>
          <p:cNvPr id="1029" name="Picture 5" descr="Front End Development in Web Development">
            <a:extLst>
              <a:ext uri="{FF2B5EF4-FFF2-40B4-BE49-F238E27FC236}">
                <a16:creationId xmlns:a16="http://schemas.microsoft.com/office/drawing/2014/main" id="{37ACF022-2339-3846-F0AC-06C6069BE9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293" y="2734764"/>
            <a:ext cx="2609850" cy="1752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1" name="Picture 7">
            <a:extLst>
              <a:ext uri="{FF2B5EF4-FFF2-40B4-BE49-F238E27FC236}">
                <a16:creationId xmlns:a16="http://schemas.microsoft.com/office/drawing/2014/main" id="{7DAEF337-3973-BB7A-4CFA-4721FF02C4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0313" y="2646852"/>
            <a:ext cx="3488825" cy="1963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56798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991E539-5EFE-4AED-872E-603B8D34AC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991E539-5EFE-4AED-872E-603B8D34AC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3310CE0A-9AAD-4E7F-A2A7-EF175D65B6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 to HTML, CSS, and JavaScrip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2C3F69D-D76D-4CFB-AD5F-C2A6D428E3D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“Let’s Build Cool Websites with ReactJS!”</a:t>
            </a:r>
            <a:endParaRPr lang="en-US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EDC0427A-C23D-481C-8E1B-1076EC28FD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noProof="0" smtClean="0"/>
              <a:pPr/>
              <a:t>3</a:t>
            </a:fld>
            <a:endParaRPr lang="en-US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A00883F-F124-4187-9967-B03237F827E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0038" y="1092312"/>
            <a:ext cx="7091362" cy="188321"/>
          </a:xfrm>
        </p:spPr>
        <p:txBody>
          <a:bodyPr/>
          <a:lstStyle/>
          <a:p>
            <a:r>
              <a:rPr lang="en-US" dirty="0"/>
              <a:t>HTML (</a:t>
            </a:r>
            <a:r>
              <a:rPr lang="en-US" dirty="0" err="1"/>
              <a:t>HyperText</a:t>
            </a:r>
            <a:r>
              <a:rPr lang="en-US" dirty="0"/>
              <a:t> Markup Language) – Structur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0B1E615-E944-47CD-AC27-55B477280C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0038" y="1513771"/>
            <a:ext cx="7091362" cy="2539005"/>
          </a:xfrm>
        </p:spPr>
        <p:txBody>
          <a:bodyPr/>
          <a:lstStyle/>
          <a:p>
            <a:r>
              <a:rPr lang="en-US" dirty="0"/>
              <a:t>HTML is the </a:t>
            </a:r>
            <a:r>
              <a:rPr lang="en-US" b="1" dirty="0"/>
              <a:t>skeleton</a:t>
            </a:r>
            <a:r>
              <a:rPr lang="en-US" dirty="0"/>
              <a:t> of a web page.</a:t>
            </a:r>
          </a:p>
          <a:p>
            <a:r>
              <a:rPr lang="en-US" dirty="0"/>
              <a:t>It defines </a:t>
            </a:r>
            <a:r>
              <a:rPr lang="en-US" b="1" dirty="0"/>
              <a:t>headings, paragraphs, images, links, tables, forms</a:t>
            </a:r>
            <a:r>
              <a:rPr lang="en-US" dirty="0"/>
              <a:t>, etc.</a:t>
            </a:r>
          </a:p>
          <a:p>
            <a:r>
              <a:rPr lang="en-US" dirty="0"/>
              <a:t>HTML = What you see (content).</a:t>
            </a:r>
          </a:p>
          <a:p>
            <a:pPr marL="0" indent="0">
              <a:buNone/>
            </a:pPr>
            <a:r>
              <a:rPr lang="en-US" dirty="0"/>
              <a:t>    </a:t>
            </a:r>
          </a:p>
        </p:txBody>
      </p:sp>
    </p:spTree>
    <p:extLst>
      <p:ext uri="{BB962C8B-B14F-4D97-AF65-F5344CB8AC3E}">
        <p14:creationId xmlns:p14="http://schemas.microsoft.com/office/powerpoint/2010/main" val="15080895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754F25-0A3C-F1E5-BACE-207672697D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7347A2F-8CCF-EF17-A4BF-4A66B7A858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F946444-B837-BF04-A3E1-AE1B5D2434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4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D9F0902-B9E8-896B-324C-BE222D3744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HTML example</a:t>
            </a:r>
          </a:p>
        </p:txBody>
      </p:sp>
      <p:pic>
        <p:nvPicPr>
          <p:cNvPr id="5" name="Picture 4" descr="A white rectangular object with black text&#10;&#10;AI-generated content may be incorrect.">
            <a:extLst>
              <a:ext uri="{FF2B5EF4-FFF2-40B4-BE49-F238E27FC236}">
                <a16:creationId xmlns:a16="http://schemas.microsoft.com/office/drawing/2014/main" id="{3AB58E22-D33D-6005-03D9-6C74CAE1225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15305" b="-1"/>
          <a:stretch>
            <a:fillRect/>
          </a:stretch>
        </p:blipFill>
        <p:spPr>
          <a:xfrm>
            <a:off x="302420" y="1109265"/>
            <a:ext cx="7091362" cy="3265416"/>
          </a:xfrm>
          <a:prstGeom prst="rect">
            <a:avLst/>
          </a:prstGeom>
          <a:noFill/>
        </p:spPr>
      </p:pic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AEF40793-6AFD-D608-59F4-86BB92BEFAEA}"/>
              </a:ext>
            </a:extLst>
          </p:cNvPr>
          <p:cNvSpPr txBox="1">
            <a:spLocks/>
          </p:cNvSpPr>
          <p:nvPr/>
        </p:nvSpPr>
        <p:spPr bwMode="gray">
          <a:xfrm>
            <a:off x="302420" y="3944846"/>
            <a:ext cx="4130952" cy="7889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44966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2D1AF3-D3D8-26CA-6712-FF80E7C153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1201B2B-6FBE-1518-749E-094CB72C76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1201B2B-6FBE-1518-749E-094CB72C76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2435C8A0-E6F4-F5C0-582C-98AF3DA999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 to HTML, CSS, and JavaScrip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D4219D5-4ACA-2500-793E-9221D47D0A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“Let’s Build Cool Websites with ReactJS!”</a:t>
            </a:r>
            <a:endParaRPr lang="en-US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A55EF68-3E1A-AD15-B47C-0A9CD1EABEC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noProof="0" smtClean="0"/>
              <a:pPr/>
              <a:t>5</a:t>
            </a:fld>
            <a:endParaRPr lang="en-US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6033B35-304A-9B55-69C9-6BBBAD88EC2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13417" y="1171173"/>
            <a:ext cx="7091362" cy="188321"/>
          </a:xfrm>
        </p:spPr>
        <p:txBody>
          <a:bodyPr/>
          <a:lstStyle/>
          <a:p>
            <a:r>
              <a:rPr lang="en-US" dirty="0"/>
              <a:t>CSS (Cascading Style Sheets) – Desig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307832E-BE7E-D60F-ACC3-93B208E86D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3417" y="1683006"/>
            <a:ext cx="7091362" cy="2539005"/>
          </a:xfrm>
        </p:spPr>
        <p:txBody>
          <a:bodyPr/>
          <a:lstStyle/>
          <a:p>
            <a:r>
              <a:rPr lang="en-US" dirty="0"/>
              <a:t>CSS is the </a:t>
            </a:r>
            <a:r>
              <a:rPr lang="en-US" b="1" dirty="0"/>
              <a:t>clothing/decoration</a:t>
            </a:r>
            <a:r>
              <a:rPr lang="en-US" dirty="0"/>
              <a:t> of a web page.</a:t>
            </a:r>
          </a:p>
          <a:p>
            <a:r>
              <a:rPr lang="en-US" dirty="0"/>
              <a:t>It controls </a:t>
            </a:r>
            <a:r>
              <a:rPr lang="en-US" b="1" dirty="0"/>
              <a:t>colors, fonts, layouts, backgrounds, spacing</a:t>
            </a:r>
            <a:r>
              <a:rPr lang="en-US" dirty="0"/>
              <a:t>.</a:t>
            </a:r>
          </a:p>
          <a:p>
            <a:r>
              <a:rPr lang="en-US" dirty="0"/>
              <a:t>CSS = How it looks (style)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18471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C3BBFA-F314-BF23-7CC4-627CD32A2D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A3B8298-9007-CFB7-DFCE-0AE1C10D521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12AC112-03CC-7BF4-0340-D64ECCFA114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6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8C8B713-2A28-B5B1-2B62-B165FC1230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 err="1"/>
              <a:t>Css</a:t>
            </a:r>
            <a:r>
              <a:rPr lang="en-US" dirty="0"/>
              <a:t> example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D26CEB25-1134-DB62-0726-764ABCF0F8C9}"/>
              </a:ext>
            </a:extLst>
          </p:cNvPr>
          <p:cNvSpPr txBox="1">
            <a:spLocks/>
          </p:cNvSpPr>
          <p:nvPr/>
        </p:nvSpPr>
        <p:spPr bwMode="gray">
          <a:xfrm>
            <a:off x="302420" y="3944846"/>
            <a:ext cx="4130952" cy="7889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FBC4177-733F-9D43-D438-B0EBB3CDF4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2704" y="1008944"/>
            <a:ext cx="8261335" cy="3451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93013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D020E6-4B51-002D-94D6-796FCAE57C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D44B21A-FFBC-847D-A432-18409328A9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D44B21A-FFBC-847D-A432-18409328A9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EAA3D0CD-535E-5264-6D68-BAE46AB023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 to HTML, CSS, and JavaScrip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BF92B60-CE3F-A351-3E5E-24D5AE40CE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“Let’s Build Cool Websites with ReactJS!”</a:t>
            </a:r>
            <a:endParaRPr lang="en-US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0931EB3-50B2-19F1-137B-D0C1476701A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noProof="0" smtClean="0"/>
              <a:pPr/>
              <a:t>7</a:t>
            </a:fld>
            <a:endParaRPr lang="en-US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B6C697-FDFC-1F41-6DBF-152C952B6A9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0038" y="1202093"/>
            <a:ext cx="7091362" cy="188321"/>
          </a:xfrm>
        </p:spPr>
        <p:txBody>
          <a:bodyPr/>
          <a:lstStyle/>
          <a:p>
            <a:r>
              <a:rPr lang="en-US" dirty="0"/>
              <a:t>JavaScript – Interactivity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53C22927-4502-A519-B613-E1AAB035F2F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0038" y="1723190"/>
            <a:ext cx="7091362" cy="2539005"/>
          </a:xfrm>
        </p:spPr>
        <p:txBody>
          <a:bodyPr/>
          <a:lstStyle/>
          <a:p>
            <a:r>
              <a:rPr lang="en-US" dirty="0"/>
              <a:t>JavaScript makes web pages </a:t>
            </a:r>
            <a:r>
              <a:rPr lang="en-US" b="1" dirty="0"/>
              <a:t>dynamic and interactive</a:t>
            </a:r>
            <a:r>
              <a:rPr lang="en-US" dirty="0"/>
              <a:t>. </a:t>
            </a:r>
          </a:p>
          <a:p>
            <a:r>
              <a:rPr lang="en-US" dirty="0"/>
              <a:t>It can respond to </a:t>
            </a:r>
            <a:r>
              <a:rPr lang="en-US" b="1" dirty="0"/>
              <a:t>clicks, inputs, animations, validations</a:t>
            </a:r>
            <a:r>
              <a:rPr lang="en-US" dirty="0"/>
              <a:t>.</a:t>
            </a:r>
          </a:p>
          <a:p>
            <a:r>
              <a:rPr lang="en-US" dirty="0"/>
              <a:t>JavaScript = How it behaves (interactivity)</a:t>
            </a:r>
          </a:p>
          <a:p>
            <a:r>
              <a:rPr lang="en-US" dirty="0">
                <a:solidFill>
                  <a:schemeClr val="accent1"/>
                </a:solidFill>
              </a:rPr>
              <a:t>Example: </a:t>
            </a:r>
            <a:r>
              <a:rPr lang="en-US" dirty="0">
                <a:hlinkClick r:id="rId6"/>
              </a:rPr>
              <a:t>Playground | MDN</a:t>
            </a:r>
            <a:endParaRPr lang="en-US" dirty="0">
              <a:solidFill>
                <a:schemeClr val="accent1"/>
              </a:solidFill>
            </a:endParaRP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     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8519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BB4451-15E5-04FB-1A1E-5A8690F587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9367352-5BC4-A02B-ACCA-4D7CF29254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9367352-5BC4-A02B-ACCA-4D7CF29254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24EFFEAC-43FB-2C0B-F818-92F0BB61A1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he Web Work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D6D13F7-B0DD-0A3F-9A83-A40E1662CF5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“Let’s Build Cool Websites with ReactJS!”</a:t>
            </a:r>
            <a:endParaRPr lang="en-US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603B3D7-FC05-091F-ED9F-886360709F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noProof="0" smtClean="0"/>
              <a:pPr/>
              <a:t>8</a:t>
            </a:fld>
            <a:endParaRPr lang="en-US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94AAAD1-85D6-7983-840F-59E00D4747C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1810" y="1018685"/>
            <a:ext cx="2098191" cy="249160"/>
          </a:xfrm>
        </p:spPr>
        <p:txBody>
          <a:bodyPr/>
          <a:lstStyle/>
          <a:p>
            <a:r>
              <a:rPr lang="en-US" dirty="0"/>
              <a:t>Browser -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57C7668-AA72-FDED-2FE3-6AFB8C54CB8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0038" y="1429670"/>
            <a:ext cx="7091362" cy="580301"/>
          </a:xfrm>
        </p:spPr>
        <p:txBody>
          <a:bodyPr/>
          <a:lstStyle/>
          <a:p>
            <a:r>
              <a:rPr lang="en-US" dirty="0"/>
              <a:t>A browser is the </a:t>
            </a:r>
            <a:r>
              <a:rPr lang="en-US" b="1" dirty="0"/>
              <a:t>tool you use to visit websites</a:t>
            </a:r>
            <a:r>
              <a:rPr lang="en-US" dirty="0"/>
              <a:t>. When you type www.google.com in the address bar, the browser sends a request.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id="{A50D75F6-A1F9-C5D2-EB66-32E633374B68}"/>
              </a:ext>
            </a:extLst>
          </p:cNvPr>
          <p:cNvSpPr txBox="1">
            <a:spLocks/>
          </p:cNvSpPr>
          <p:nvPr/>
        </p:nvSpPr>
        <p:spPr bwMode="gray">
          <a:xfrm>
            <a:off x="341810" y="2009971"/>
            <a:ext cx="7091362" cy="1883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None/>
              <a:defRPr sz="1200" b="1" kern="1200">
                <a:solidFill>
                  <a:schemeClr val="accent1"/>
                </a:solidFill>
                <a:latin typeface="+mj-lt"/>
                <a:ea typeface="GT Flexa Bl" pitchFamily="2" charset="0"/>
                <a:cs typeface="GT Flexa Bl" pitchFamily="2" charset="0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erver</a:t>
            </a:r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B5D6CACE-FEA3-F33D-6AA1-E99F1BCC5EF1}"/>
              </a:ext>
            </a:extLst>
          </p:cNvPr>
          <p:cNvSpPr txBox="1">
            <a:spLocks/>
          </p:cNvSpPr>
          <p:nvPr/>
        </p:nvSpPr>
        <p:spPr bwMode="gray">
          <a:xfrm>
            <a:off x="300038" y="2337718"/>
            <a:ext cx="7091362" cy="6155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The </a:t>
            </a:r>
            <a:r>
              <a:rPr lang="en-US" b="1" dirty="0"/>
              <a:t>server is a powerful computer</a:t>
            </a:r>
            <a:r>
              <a:rPr lang="en-US" dirty="0"/>
              <a:t> that stores websites. When your browser asks for a page, the server sends back the </a:t>
            </a:r>
            <a:r>
              <a:rPr lang="en-US" b="1" dirty="0"/>
              <a:t>HTML, CSS, and JavaScript files</a:t>
            </a:r>
            <a:endParaRPr lang="en-US" dirty="0"/>
          </a:p>
        </p:txBody>
      </p:sp>
      <p:pic>
        <p:nvPicPr>
          <p:cNvPr id="3080" name="Picture 8" descr="Google Chrome PNG Images - CleanPNG">
            <a:extLst>
              <a:ext uri="{FF2B5EF4-FFF2-40B4-BE49-F238E27FC236}">
                <a16:creationId xmlns:a16="http://schemas.microsoft.com/office/drawing/2014/main" id="{34019E49-C474-8F33-21E5-85DE572905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668" y="1014501"/>
            <a:ext cx="250193" cy="262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6" name="Picture 14" descr="Firefox Logo transparent PNG - StickPNG">
            <a:extLst>
              <a:ext uri="{FF2B5EF4-FFF2-40B4-BE49-F238E27FC236}">
                <a16:creationId xmlns:a16="http://schemas.microsoft.com/office/drawing/2014/main" id="{A7CA63AD-1EE1-4376-678B-98470C54D9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0905" y="993795"/>
            <a:ext cx="270044" cy="2861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8" name="Picture 16">
            <a:extLst>
              <a:ext uri="{FF2B5EF4-FFF2-40B4-BE49-F238E27FC236}">
                <a16:creationId xmlns:a16="http://schemas.microsoft.com/office/drawing/2014/main" id="{7C0F1331-D379-4DB9-63D0-BD7F7B5D99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5993" y="1003319"/>
            <a:ext cx="270045" cy="270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2" name="Picture 20" descr="Generated image">
            <a:extLst>
              <a:ext uri="{FF2B5EF4-FFF2-40B4-BE49-F238E27FC236}">
                <a16:creationId xmlns:a16="http://schemas.microsoft.com/office/drawing/2014/main" id="{3CF74EAC-7769-1942-2489-4E4064CE53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5861" y="2953271"/>
            <a:ext cx="4068857" cy="1691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58935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03FB4D-4A4C-5808-E782-93F505B983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31E8489-9739-58FC-7320-11A3E185B3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31E8489-9739-58FC-7320-11A3E185B3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DCD1C6B0-CA63-AC7B-6F60-D61D4F2ABE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he Web Work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739A735-BC7F-BC4E-D84F-5C5114189CE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“Let’s Build Cool Websites with ReactJS!”</a:t>
            </a:r>
            <a:endParaRPr lang="en-US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DAC9935-591A-1B26-6C51-B97854E3C9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noProof="0" smtClean="0"/>
              <a:pPr/>
              <a:t>9</a:t>
            </a:fld>
            <a:endParaRPr lang="en-US" noProof="0" dirty="0"/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F89C7623-D0ED-6B8B-9C1D-39F4E36E8A6C}"/>
              </a:ext>
            </a:extLst>
          </p:cNvPr>
          <p:cNvSpPr txBox="1">
            <a:spLocks/>
          </p:cNvSpPr>
          <p:nvPr/>
        </p:nvSpPr>
        <p:spPr bwMode="gray">
          <a:xfrm>
            <a:off x="302420" y="1610586"/>
            <a:ext cx="7091362" cy="7686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  <p:pic>
        <p:nvPicPr>
          <p:cNvPr id="13" name="Picture 12" descr="A diagram of a cloud computing system">
            <a:extLst>
              <a:ext uri="{FF2B5EF4-FFF2-40B4-BE49-F238E27FC236}">
                <a16:creationId xmlns:a16="http://schemas.microsoft.com/office/drawing/2014/main" id="{003124DD-6AA0-532B-9CC7-4F7A0EA7633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4827" y="842407"/>
            <a:ext cx="6190972" cy="2808214"/>
          </a:xfrm>
          <a:prstGeom prst="rect">
            <a:avLst/>
          </a:prstGeom>
        </p:spPr>
      </p:pic>
      <p:sp>
        <p:nvSpPr>
          <p:cNvPr id="18" name="Textplatzhalter 5">
            <a:extLst>
              <a:ext uri="{FF2B5EF4-FFF2-40B4-BE49-F238E27FC236}">
                <a16:creationId xmlns:a16="http://schemas.microsoft.com/office/drawing/2014/main" id="{1EF0E18C-3BE3-52FD-D83E-C6F182C5FDFA}"/>
              </a:ext>
            </a:extLst>
          </p:cNvPr>
          <p:cNvSpPr txBox="1">
            <a:spLocks/>
          </p:cNvSpPr>
          <p:nvPr/>
        </p:nvSpPr>
        <p:spPr bwMode="gray">
          <a:xfrm>
            <a:off x="341810" y="3451164"/>
            <a:ext cx="7091362" cy="1883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None/>
              <a:defRPr sz="1200" b="1" kern="1200">
                <a:solidFill>
                  <a:schemeClr val="accent1"/>
                </a:solidFill>
                <a:latin typeface="+mj-lt"/>
                <a:ea typeface="GT Flexa Bl" pitchFamily="2" charset="0"/>
                <a:cs typeface="GT Flexa Bl" pitchFamily="2" charset="0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APIs (Application Programming Interfaces)</a:t>
            </a: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1A30D743-B4A6-D96B-54C2-7B7CC11E23FC}"/>
              </a:ext>
            </a:extLst>
          </p:cNvPr>
          <p:cNvSpPr txBox="1">
            <a:spLocks/>
          </p:cNvSpPr>
          <p:nvPr/>
        </p:nvSpPr>
        <p:spPr bwMode="gray">
          <a:xfrm>
            <a:off x="327632" y="3802354"/>
            <a:ext cx="7091362" cy="7686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APIs are like </a:t>
            </a:r>
            <a:r>
              <a:rPr lang="en-US" b="1" dirty="0"/>
              <a:t>messengers</a:t>
            </a:r>
            <a:r>
              <a:rPr lang="en-US" dirty="0"/>
              <a:t> that allow different apps or services to talk to each other.</a:t>
            </a:r>
          </a:p>
          <a:p>
            <a:r>
              <a:rPr lang="en-US" b="1" dirty="0"/>
              <a:t>Example</a:t>
            </a:r>
            <a:r>
              <a:rPr lang="en-US" dirty="0"/>
              <a:t>: When a website shows </a:t>
            </a:r>
            <a:r>
              <a:rPr lang="en-US" b="1" dirty="0"/>
              <a:t>Google Maps</a:t>
            </a:r>
            <a:r>
              <a:rPr lang="en-US" dirty="0"/>
              <a:t>, it uses the </a:t>
            </a:r>
            <a:r>
              <a:rPr lang="en-US" b="1" dirty="0"/>
              <a:t>Google Maps API</a:t>
            </a:r>
            <a:r>
              <a:rPr lang="en-US" dirty="0"/>
              <a:t> to fetch data.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64660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aff958d4-5f71-4e90-bfe1-a52ab6a9a6c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enkel_Master_EN">
  <a:themeElements>
    <a:clrScheme name="Color_Henkel">
      <a:dk1>
        <a:sysClr val="windowText" lastClr="000000"/>
      </a:dk1>
      <a:lt1>
        <a:sysClr val="window" lastClr="FFFFFF"/>
      </a:lt1>
      <a:dk2>
        <a:srgbClr val="DED7D6"/>
      </a:dk2>
      <a:lt2>
        <a:srgbClr val="EFEBEA"/>
      </a:lt2>
      <a:accent1>
        <a:srgbClr val="E1000F"/>
      </a:accent1>
      <a:accent2>
        <a:srgbClr val="968282"/>
      </a:accent2>
      <a:accent3>
        <a:srgbClr val="56729F"/>
      </a:accent3>
      <a:accent4>
        <a:srgbClr val="BDCDDA"/>
      </a:accent4>
      <a:accent5>
        <a:srgbClr val="53846A"/>
      </a:accent5>
      <a:accent6>
        <a:srgbClr val="BFCFBE"/>
      </a:accent6>
      <a:hlink>
        <a:srgbClr val="000000"/>
      </a:hlink>
      <a:folHlink>
        <a:srgbClr val="000000"/>
      </a:folHlink>
    </a:clrScheme>
    <a:fontScheme name="Fonts Henkel Sego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80000" tIns="144000" rIns="180000" bIns="144000" rtlCol="0" anchor="t"/>
      <a:lstStyle>
        <a:defPPr algn="l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none" lIns="0" tIns="0" rIns="0" bIns="0" rtlCol="0">
        <a:noAutofit/>
      </a:bodyPr>
      <a:lstStyle>
        <a:defPPr marL="162000" indent="-162000" algn="l" defTabSz="685800">
          <a:lnSpc>
            <a:spcPct val="114000"/>
          </a:lnSpc>
          <a:spcAft>
            <a:spcPts val="1200"/>
          </a:spcAft>
          <a:buClr>
            <a:schemeClr val="accent1"/>
          </a:buClr>
          <a:buSzPct val="100000"/>
          <a:buFont typeface="Wingdings" panose="05000000000000000000" pitchFamily="2" charset="2"/>
          <a:buChar char="§"/>
          <a:defRPr sz="1200"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Henkel PPT Template.pptx" id="{53EEE8EB-EB05-4128-A489-5074B0BCE927}" vid="{042B78F7-4D3D-495E-A87C-6229CE44AAFA}"/>
    </a:ext>
  </a:extLst>
</a:theme>
</file>

<file path=ppt/theme/theme2.xml><?xml version="1.0" encoding="utf-8"?>
<a:theme xmlns:a="http://schemas.openxmlformats.org/drawingml/2006/main" name="Office">
  <a:themeElements>
    <a:clrScheme name="Color_Henkel">
      <a:dk1>
        <a:sysClr val="windowText" lastClr="000000"/>
      </a:dk1>
      <a:lt1>
        <a:sysClr val="window" lastClr="FFFFFF"/>
      </a:lt1>
      <a:dk2>
        <a:srgbClr val="DED7D6"/>
      </a:dk2>
      <a:lt2>
        <a:srgbClr val="EFEBEA"/>
      </a:lt2>
      <a:accent1>
        <a:srgbClr val="E1000F"/>
      </a:accent1>
      <a:accent2>
        <a:srgbClr val="968282"/>
      </a:accent2>
      <a:accent3>
        <a:srgbClr val="56729F"/>
      </a:accent3>
      <a:accent4>
        <a:srgbClr val="BDCDDA"/>
      </a:accent4>
      <a:accent5>
        <a:srgbClr val="53846A"/>
      </a:accent5>
      <a:accent6>
        <a:srgbClr val="BFCFBE"/>
      </a:accent6>
      <a:hlink>
        <a:srgbClr val="000000"/>
      </a:hlink>
      <a:folHlink>
        <a:srgbClr val="000000"/>
      </a:folHlink>
    </a:clrScheme>
    <a:fontScheme name="Fonts_Henkel">
      <a:majorFont>
        <a:latin typeface="GT Flexa Rg"/>
        <a:ea typeface=""/>
        <a:cs typeface=""/>
      </a:majorFont>
      <a:minorFont>
        <a:latin typeface="GT Flexa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Color_Henkel">
      <a:dk1>
        <a:sysClr val="windowText" lastClr="000000"/>
      </a:dk1>
      <a:lt1>
        <a:sysClr val="window" lastClr="FFFFFF"/>
      </a:lt1>
      <a:dk2>
        <a:srgbClr val="DED7D6"/>
      </a:dk2>
      <a:lt2>
        <a:srgbClr val="EFEBEA"/>
      </a:lt2>
      <a:accent1>
        <a:srgbClr val="E1000F"/>
      </a:accent1>
      <a:accent2>
        <a:srgbClr val="968282"/>
      </a:accent2>
      <a:accent3>
        <a:srgbClr val="56729F"/>
      </a:accent3>
      <a:accent4>
        <a:srgbClr val="BDCDDA"/>
      </a:accent4>
      <a:accent5>
        <a:srgbClr val="53846A"/>
      </a:accent5>
      <a:accent6>
        <a:srgbClr val="BFCFBE"/>
      </a:accent6>
      <a:hlink>
        <a:srgbClr val="000000"/>
      </a:hlink>
      <a:folHlink>
        <a:srgbClr val="000000"/>
      </a:folHlink>
    </a:clrScheme>
    <a:fontScheme name="Fonts_Henkel">
      <a:majorFont>
        <a:latin typeface="GT Flexa Rg"/>
        <a:ea typeface=""/>
        <a:cs typeface=""/>
      </a:majorFont>
      <a:minorFont>
        <a:latin typeface="GT Flexa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haredContentType xmlns="Microsoft.SharePoint.Taxonomy.ContentTypeSync" SourceId="72f792e8-4dad-42c1-ad63-44982727bf4d" ContentTypeId="0x01" PreviousValue="false"/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2A3342A4612824A984C9D3B6A427442" ma:contentTypeVersion="8" ma:contentTypeDescription="Create a new document." ma:contentTypeScope="" ma:versionID="a6ab8473d9b7c3f86d452009d11bc564">
  <xsd:schema xmlns:xsd="http://www.w3.org/2001/XMLSchema" xmlns:xs="http://www.w3.org/2001/XMLSchema" xmlns:p="http://schemas.microsoft.com/office/2006/metadata/properties" xmlns:ns2="41cfcdc3-71d6-4f22-98da-a03455e31e1e" xmlns:ns3="f6c43736-06a3-4b01-9241-d507a38380c5" targetNamespace="http://schemas.microsoft.com/office/2006/metadata/properties" ma:root="true" ma:fieldsID="c4f460adf626c0f020155bcf5a1d9ecf" ns2:_="" ns3:_="">
    <xsd:import namespace="41cfcdc3-71d6-4f22-98da-a03455e31e1e"/>
    <xsd:import namespace="f6c43736-06a3-4b01-9241-d507a38380c5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1cfcdc3-71d6-4f22-98da-a03455e31e1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c43736-06a3-4b01-9241-d507a38380c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916BC72-8BF2-437E-AAED-829A1B7442F7}">
  <ds:schemaRefs>
    <ds:schemaRef ds:uri="Microsoft.SharePoint.Taxonomy.ContentTypeSync"/>
  </ds:schemaRefs>
</ds:datastoreItem>
</file>

<file path=customXml/itemProps2.xml><?xml version="1.0" encoding="utf-8"?>
<ds:datastoreItem xmlns:ds="http://schemas.openxmlformats.org/officeDocument/2006/customXml" ds:itemID="{5CC2817D-4C97-4B64-8971-3B82218F0E7C}">
  <ds:schemaRefs>
    <ds:schemaRef ds:uri="41cfcdc3-71d6-4f22-98da-a03455e31e1e"/>
    <ds:schemaRef ds:uri="http://schemas.microsoft.com/office/2006/metadata/properties"/>
    <ds:schemaRef ds:uri="http://schemas.microsoft.com/office/2006/documentManagement/types"/>
    <ds:schemaRef ds:uri="http://www.w3.org/XML/1998/namespace"/>
    <ds:schemaRef ds:uri="http://purl.org/dc/dcmitype/"/>
    <ds:schemaRef ds:uri="http://schemas.openxmlformats.org/package/2006/metadata/core-properties"/>
    <ds:schemaRef ds:uri="f6c43736-06a3-4b01-9241-d507a38380c5"/>
    <ds:schemaRef ds:uri="http://schemas.microsoft.com/office/infopath/2007/PartnerControls"/>
    <ds:schemaRef ds:uri="http://purl.org/dc/terms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B810E311-6271-432D-AB10-6E4D630007E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1cfcdc3-71d6-4f22-98da-a03455e31e1e"/>
    <ds:schemaRef ds:uri="f6c43736-06a3-4b01-9241-d507a38380c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27CF7434-E26D-4085-9ED2-B86CC45AE79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Henkel PPT Template</Template>
  <TotalTime>0</TotalTime>
  <Words>614</Words>
  <Application>Microsoft Office PowerPoint</Application>
  <PresentationFormat>Custom</PresentationFormat>
  <Paragraphs>101</Paragraphs>
  <Slides>1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4" baseType="lpstr">
      <vt:lpstr>Arial</vt:lpstr>
      <vt:lpstr>GT Flexa Rg</vt:lpstr>
      <vt:lpstr>Segoe UI</vt:lpstr>
      <vt:lpstr>Wingdings</vt:lpstr>
      <vt:lpstr>Henkel_Master_EN</vt:lpstr>
      <vt:lpstr>think-cell Folie</vt:lpstr>
      <vt:lpstr>“Let’s Build Cool Websites with ReactJS!”</vt:lpstr>
      <vt:lpstr>What is frontend development</vt:lpstr>
      <vt:lpstr>Introduction to HTML, CSS, and JavaScript</vt:lpstr>
      <vt:lpstr>HTML example</vt:lpstr>
      <vt:lpstr>Introduction to HTML, CSS, and JavaScript</vt:lpstr>
      <vt:lpstr>Css example</vt:lpstr>
      <vt:lpstr>Introduction to HTML, CSS, and JavaScript</vt:lpstr>
      <vt:lpstr>How the Web Works</vt:lpstr>
      <vt:lpstr>How the Web Works</vt:lpstr>
      <vt:lpstr>Developer Tools</vt:lpstr>
      <vt:lpstr>Developer Tools</vt:lpstr>
      <vt:lpstr>Developer Tools</vt:lpstr>
      <vt:lpstr>Developer Tools</vt:lpstr>
      <vt:lpstr>Using VS Code</vt:lpstr>
      <vt:lpstr>Using VS Code</vt:lpstr>
      <vt:lpstr>Using VS Code</vt:lpstr>
      <vt:lpstr>Using VS Code</vt:lpstr>
      <vt:lpstr>Thank you.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Nivedha N A</dc:creator>
  <cp:lastModifiedBy>Nivedha N A</cp:lastModifiedBy>
  <cp:revision>1</cp:revision>
  <dcterms:created xsi:type="dcterms:W3CDTF">2025-09-01T09:30:01Z</dcterms:created>
  <dcterms:modified xsi:type="dcterms:W3CDTF">2025-09-02T13:55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2A3342A4612824A984C9D3B6A427442</vt:lpwstr>
  </property>
</Properties>
</file>